
<file path=[Content_Types].xml><?xml version="1.0" encoding="utf-8"?>
<Types xmlns="http://schemas.openxmlformats.org/package/2006/content-types"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4.xml" ContentType="application/vnd.openxmlformats-officedocument.drawingml.chart+xml"/>
  <Override PartName="/ppt/theme/themeOverride3.xml" ContentType="application/vnd.openxmlformats-officedocument.themeOverride+xml"/>
  <Override PartName="/ppt/notesSlides/notesSlide12.xml" ContentType="application/vnd.openxmlformats-officedocument.presentationml.notesSlide+xml"/>
  <Override PartName="/ppt/charts/chart5.xml" ContentType="application/vnd.openxmlformats-officedocument.drawingml.chart+xml"/>
  <Override PartName="/ppt/theme/themeOverride4.xml" ContentType="application/vnd.openxmlformats-officedocument.themeOverride+xml"/>
  <Override PartName="/ppt/notesSlides/notesSlide13.xml" ContentType="application/vnd.openxmlformats-officedocument.presentationml.notesSlide+xml"/>
  <Override PartName="/ppt/charts/chart6.xml" ContentType="application/vnd.openxmlformats-officedocument.drawingml.chart+xml"/>
  <Override PartName="/ppt/theme/themeOverride5.xml" ContentType="application/vnd.openxmlformats-officedocument.themeOverride+xml"/>
  <Override PartName="/ppt/notesSlides/notesSlide14.xml" ContentType="application/vnd.openxmlformats-officedocument.presentationml.notesSlide+xml"/>
  <Override PartName="/ppt/charts/chart7.xml" ContentType="application/vnd.openxmlformats-officedocument.drawingml.chart+xml"/>
  <Override PartName="/ppt/theme/themeOverride6.xml" ContentType="application/vnd.openxmlformats-officedocument.themeOverr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rts/chart8.xml" ContentType="application/vnd.openxmlformats-officedocument.drawingml.chart+xml"/>
  <Override PartName="/ppt/theme/themeOverride7.xml" ContentType="application/vnd.openxmlformats-officedocument.themeOverride+xml"/>
  <Override PartName="/ppt/notesSlides/notesSlide17.xml" ContentType="application/vnd.openxmlformats-officedocument.presentationml.notesSlide+xml"/>
  <Override PartName="/ppt/charts/chart9.xml" ContentType="application/vnd.openxmlformats-officedocument.drawingml.chart+xml"/>
  <Override PartName="/ppt/theme/themeOverride8.xml" ContentType="application/vnd.openxmlformats-officedocument.themeOverr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4"/>
  </p:sldMasterIdLst>
  <p:notesMasterIdLst>
    <p:notesMasterId r:id="rId24"/>
  </p:notesMasterIdLst>
  <p:handoutMasterIdLst>
    <p:handoutMasterId r:id="rId25"/>
  </p:handoutMasterIdLst>
  <p:sldIdLst>
    <p:sldId id="385" r:id="rId5"/>
    <p:sldId id="394" r:id="rId6"/>
    <p:sldId id="416" r:id="rId7"/>
    <p:sldId id="408" r:id="rId8"/>
    <p:sldId id="414" r:id="rId9"/>
    <p:sldId id="409" r:id="rId10"/>
    <p:sldId id="410" r:id="rId11"/>
    <p:sldId id="411" r:id="rId12"/>
    <p:sldId id="395" r:id="rId13"/>
    <p:sldId id="412" r:id="rId14"/>
    <p:sldId id="396" r:id="rId15"/>
    <p:sldId id="403" r:id="rId16"/>
    <p:sldId id="405" r:id="rId17"/>
    <p:sldId id="407" r:id="rId18"/>
    <p:sldId id="413" r:id="rId19"/>
    <p:sldId id="397" r:id="rId20"/>
    <p:sldId id="404" r:id="rId21"/>
    <p:sldId id="406" r:id="rId22"/>
    <p:sldId id="415" r:id="rId23"/>
  </p:sldIdLst>
  <p:sldSz cx="9144000" cy="6858000" type="screen4x3"/>
  <p:notesSz cx="7023100" cy="9309100"/>
  <p:embeddedFontLst>
    <p:embeddedFont>
      <p:font typeface="Calibri" panose="020F0502020204030204" pitchFamily="34" charset="0"/>
      <p:regular r:id="rId26"/>
      <p:bold r:id="rId27"/>
      <p:italic r:id="rId28"/>
      <p:boldItalic r:id="rId29"/>
    </p:embeddedFont>
    <p:embeddedFont>
      <p:font typeface="Verdana" panose="020B0604030504040204" pitchFamily="34" charset="0"/>
      <p:regular r:id="rId30"/>
      <p:bold r:id="rId31"/>
      <p:italic r:id="rId32"/>
      <p:boldItalic r:id="rId33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932">
          <p15:clr>
            <a:srgbClr val="A4A3A4"/>
          </p15:clr>
        </p15:guide>
        <p15:guide id="2" pos="221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get-Seekins, Laurel" initials="PL" lastIdx="3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69E"/>
    <a:srgbClr val="FFFFCC"/>
    <a:srgbClr val="801402"/>
    <a:srgbClr val="0D7573"/>
    <a:srgbClr val="6C0000"/>
    <a:srgbClr val="CC00CC"/>
    <a:srgbClr val="FF9933"/>
    <a:srgbClr val="FFFF00"/>
    <a:srgbClr val="FF5050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83043" autoAdjust="0"/>
  </p:normalViewPr>
  <p:slideViewPr>
    <p:cSldViewPr>
      <p:cViewPr varScale="1">
        <p:scale>
          <a:sx n="60" d="100"/>
          <a:sy n="60" d="100"/>
        </p:scale>
        <p:origin x="-90" y="-31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2813"/>
    </p:cViewPr>
  </p:sorterViewPr>
  <p:notesViewPr>
    <p:cSldViewPr>
      <p:cViewPr varScale="1">
        <p:scale>
          <a:sx n="65" d="100"/>
          <a:sy n="65" d="100"/>
        </p:scale>
        <p:origin x="-3288" y="-114"/>
      </p:cViewPr>
      <p:guideLst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1.fntdata"/><Relationship Id="rId39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33" Type="http://schemas.openxmlformats.org/officeDocument/2006/relationships/font" Target="fonts/font8.fntdata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font" Target="fonts/font4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32" Type="http://schemas.openxmlformats.org/officeDocument/2006/relationships/font" Target="fonts/font7.fntdata"/><Relationship Id="rId37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font" Target="fonts/font3.fntdata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6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font" Target="fonts/font2.fntdata"/><Relationship Id="rId30" Type="http://schemas.openxmlformats.org/officeDocument/2006/relationships/font" Target="fonts/font5.fntdata"/><Relationship Id="rId35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ithistle\Box%20Sync\Ongoing%20Activities\Ridership\Quarterly%20Updates\CR%20ridership\avg%20weekday.xlsx" TargetMode="Externa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3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4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5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6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7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Monthly UPT,</a:t>
            </a:r>
            <a:r>
              <a:rPr lang="en-US" baseline="0" dirty="0"/>
              <a:t> all transit modes</a:t>
            </a:r>
            <a:r>
              <a:rPr lang="en-US" dirty="0"/>
              <a:t> 12-month rolling average, selected UZAs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overall UZA ridership'!$A$20</c:f>
              <c:strCache>
                <c:ptCount val="1"/>
                <c:pt idx="0">
                  <c:v>Boston</c:v>
                </c:pt>
              </c:strCache>
            </c:strRef>
          </c:tx>
          <c:spPr>
            <a:ln w="38100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'overall UZA ridership'!$B$1:$EF$1</c:f>
              <c:strCache>
                <c:ptCount val="135"/>
                <c:pt idx="0">
                  <c:v>JAN07</c:v>
                </c:pt>
                <c:pt idx="1">
                  <c:v>FEB07</c:v>
                </c:pt>
                <c:pt idx="2">
                  <c:v>MAR07</c:v>
                </c:pt>
                <c:pt idx="3">
                  <c:v>APR07</c:v>
                </c:pt>
                <c:pt idx="4">
                  <c:v>MAY07</c:v>
                </c:pt>
                <c:pt idx="5">
                  <c:v>JUN07</c:v>
                </c:pt>
                <c:pt idx="6">
                  <c:v>JUL07</c:v>
                </c:pt>
                <c:pt idx="7">
                  <c:v>AUG07</c:v>
                </c:pt>
                <c:pt idx="8">
                  <c:v>SEP07</c:v>
                </c:pt>
                <c:pt idx="9">
                  <c:v>OCT07</c:v>
                </c:pt>
                <c:pt idx="10">
                  <c:v>NOV07</c:v>
                </c:pt>
                <c:pt idx="11">
                  <c:v>DEC07</c:v>
                </c:pt>
                <c:pt idx="12">
                  <c:v>JAN08</c:v>
                </c:pt>
                <c:pt idx="13">
                  <c:v>FEB08</c:v>
                </c:pt>
                <c:pt idx="14">
                  <c:v>MAR08</c:v>
                </c:pt>
                <c:pt idx="15">
                  <c:v>APR08</c:v>
                </c:pt>
                <c:pt idx="16">
                  <c:v>MAY08</c:v>
                </c:pt>
                <c:pt idx="17">
                  <c:v>JUN08</c:v>
                </c:pt>
                <c:pt idx="18">
                  <c:v>JUL08</c:v>
                </c:pt>
                <c:pt idx="19">
                  <c:v>AUG08</c:v>
                </c:pt>
                <c:pt idx="20">
                  <c:v>SEP08</c:v>
                </c:pt>
                <c:pt idx="21">
                  <c:v>OCT08</c:v>
                </c:pt>
                <c:pt idx="22">
                  <c:v>NOV08</c:v>
                </c:pt>
                <c:pt idx="23">
                  <c:v>DEC08</c:v>
                </c:pt>
                <c:pt idx="24">
                  <c:v>JAN09</c:v>
                </c:pt>
                <c:pt idx="25">
                  <c:v>FEB09</c:v>
                </c:pt>
                <c:pt idx="26">
                  <c:v>MAR09</c:v>
                </c:pt>
                <c:pt idx="27">
                  <c:v>APR09</c:v>
                </c:pt>
                <c:pt idx="28">
                  <c:v>MAY09</c:v>
                </c:pt>
                <c:pt idx="29">
                  <c:v>JUN09</c:v>
                </c:pt>
                <c:pt idx="30">
                  <c:v>JUL09</c:v>
                </c:pt>
                <c:pt idx="31">
                  <c:v>AUG09</c:v>
                </c:pt>
                <c:pt idx="32">
                  <c:v>SEP09</c:v>
                </c:pt>
                <c:pt idx="33">
                  <c:v>OCT09</c:v>
                </c:pt>
                <c:pt idx="34">
                  <c:v>NOV09</c:v>
                </c:pt>
                <c:pt idx="35">
                  <c:v>DEC09</c:v>
                </c:pt>
                <c:pt idx="36">
                  <c:v>JAN10</c:v>
                </c:pt>
                <c:pt idx="37">
                  <c:v>FEB10</c:v>
                </c:pt>
                <c:pt idx="38">
                  <c:v>MAR10</c:v>
                </c:pt>
                <c:pt idx="39">
                  <c:v>APR10</c:v>
                </c:pt>
                <c:pt idx="40">
                  <c:v>MAY10</c:v>
                </c:pt>
                <c:pt idx="41">
                  <c:v>JUN10</c:v>
                </c:pt>
                <c:pt idx="42">
                  <c:v>JUL10</c:v>
                </c:pt>
                <c:pt idx="43">
                  <c:v>AUG10</c:v>
                </c:pt>
                <c:pt idx="44">
                  <c:v>SEP10</c:v>
                </c:pt>
                <c:pt idx="45">
                  <c:v>OCT10</c:v>
                </c:pt>
                <c:pt idx="46">
                  <c:v>NOV10</c:v>
                </c:pt>
                <c:pt idx="47">
                  <c:v>DEC10</c:v>
                </c:pt>
                <c:pt idx="48">
                  <c:v>JAN11</c:v>
                </c:pt>
                <c:pt idx="49">
                  <c:v>FEB11</c:v>
                </c:pt>
                <c:pt idx="50">
                  <c:v>MAR11</c:v>
                </c:pt>
                <c:pt idx="51">
                  <c:v>APR11</c:v>
                </c:pt>
                <c:pt idx="52">
                  <c:v>MAY11</c:v>
                </c:pt>
                <c:pt idx="53">
                  <c:v>JUN11</c:v>
                </c:pt>
                <c:pt idx="54">
                  <c:v>JUL11</c:v>
                </c:pt>
                <c:pt idx="55">
                  <c:v>AUG11</c:v>
                </c:pt>
                <c:pt idx="56">
                  <c:v>SEP11</c:v>
                </c:pt>
                <c:pt idx="57">
                  <c:v>OCT11</c:v>
                </c:pt>
                <c:pt idx="58">
                  <c:v>NOV11</c:v>
                </c:pt>
                <c:pt idx="59">
                  <c:v>DEC11</c:v>
                </c:pt>
                <c:pt idx="60">
                  <c:v>JAN12</c:v>
                </c:pt>
                <c:pt idx="61">
                  <c:v>FEB12</c:v>
                </c:pt>
                <c:pt idx="62">
                  <c:v>MAR12</c:v>
                </c:pt>
                <c:pt idx="63">
                  <c:v>APR12</c:v>
                </c:pt>
                <c:pt idx="64">
                  <c:v>MAY12</c:v>
                </c:pt>
                <c:pt idx="65">
                  <c:v>JUN12</c:v>
                </c:pt>
                <c:pt idx="66">
                  <c:v>JUL12</c:v>
                </c:pt>
                <c:pt idx="67">
                  <c:v>AUG12</c:v>
                </c:pt>
                <c:pt idx="68">
                  <c:v>SEP12</c:v>
                </c:pt>
                <c:pt idx="69">
                  <c:v>OCT12</c:v>
                </c:pt>
                <c:pt idx="70">
                  <c:v>NOV12</c:v>
                </c:pt>
                <c:pt idx="71">
                  <c:v>DEC12</c:v>
                </c:pt>
                <c:pt idx="72">
                  <c:v>JAN13</c:v>
                </c:pt>
                <c:pt idx="73">
                  <c:v>FEB13</c:v>
                </c:pt>
                <c:pt idx="74">
                  <c:v>MAR13</c:v>
                </c:pt>
                <c:pt idx="75">
                  <c:v>APR13</c:v>
                </c:pt>
                <c:pt idx="76">
                  <c:v>MAY13</c:v>
                </c:pt>
                <c:pt idx="77">
                  <c:v>JUN13</c:v>
                </c:pt>
                <c:pt idx="78">
                  <c:v>JUL13</c:v>
                </c:pt>
                <c:pt idx="79">
                  <c:v>AUG13</c:v>
                </c:pt>
                <c:pt idx="80">
                  <c:v>SEP13</c:v>
                </c:pt>
                <c:pt idx="81">
                  <c:v>OCT13</c:v>
                </c:pt>
                <c:pt idx="82">
                  <c:v>NOV13</c:v>
                </c:pt>
                <c:pt idx="83">
                  <c:v>DEC13</c:v>
                </c:pt>
                <c:pt idx="84">
                  <c:v>JAN14</c:v>
                </c:pt>
                <c:pt idx="85">
                  <c:v>FEB14</c:v>
                </c:pt>
                <c:pt idx="86">
                  <c:v>MAR14</c:v>
                </c:pt>
                <c:pt idx="87">
                  <c:v>APR14</c:v>
                </c:pt>
                <c:pt idx="88">
                  <c:v>MAY14</c:v>
                </c:pt>
                <c:pt idx="89">
                  <c:v>JUN14</c:v>
                </c:pt>
                <c:pt idx="90">
                  <c:v>JUL14</c:v>
                </c:pt>
                <c:pt idx="91">
                  <c:v>AUG14</c:v>
                </c:pt>
                <c:pt idx="92">
                  <c:v>SEP14</c:v>
                </c:pt>
                <c:pt idx="93">
                  <c:v>OCT14</c:v>
                </c:pt>
                <c:pt idx="94">
                  <c:v>NOV14</c:v>
                </c:pt>
                <c:pt idx="95">
                  <c:v>DEC14</c:v>
                </c:pt>
                <c:pt idx="96">
                  <c:v>JAN15</c:v>
                </c:pt>
                <c:pt idx="97">
                  <c:v>FEB15</c:v>
                </c:pt>
                <c:pt idx="98">
                  <c:v>MAR15</c:v>
                </c:pt>
                <c:pt idx="99">
                  <c:v>APR15</c:v>
                </c:pt>
                <c:pt idx="100">
                  <c:v>MAY15</c:v>
                </c:pt>
                <c:pt idx="101">
                  <c:v>JUN15</c:v>
                </c:pt>
                <c:pt idx="102">
                  <c:v>JUL15</c:v>
                </c:pt>
                <c:pt idx="103">
                  <c:v>AUG15</c:v>
                </c:pt>
                <c:pt idx="104">
                  <c:v>SEP15</c:v>
                </c:pt>
                <c:pt idx="105">
                  <c:v>OCT15</c:v>
                </c:pt>
                <c:pt idx="106">
                  <c:v>NOV15</c:v>
                </c:pt>
                <c:pt idx="107">
                  <c:v>DEC15</c:v>
                </c:pt>
                <c:pt idx="108">
                  <c:v>JAN16</c:v>
                </c:pt>
                <c:pt idx="109">
                  <c:v>FEB16</c:v>
                </c:pt>
                <c:pt idx="110">
                  <c:v>MAR16</c:v>
                </c:pt>
                <c:pt idx="111">
                  <c:v>APR16</c:v>
                </c:pt>
                <c:pt idx="112">
                  <c:v>MAY16</c:v>
                </c:pt>
                <c:pt idx="113">
                  <c:v>JUN16</c:v>
                </c:pt>
                <c:pt idx="114">
                  <c:v>JUL16</c:v>
                </c:pt>
                <c:pt idx="115">
                  <c:v>AUG16</c:v>
                </c:pt>
                <c:pt idx="116">
                  <c:v>SEP16</c:v>
                </c:pt>
                <c:pt idx="117">
                  <c:v>OCT16</c:v>
                </c:pt>
                <c:pt idx="118">
                  <c:v>NOV16</c:v>
                </c:pt>
                <c:pt idx="119">
                  <c:v>DEC16</c:v>
                </c:pt>
                <c:pt idx="120">
                  <c:v>JAN17</c:v>
                </c:pt>
                <c:pt idx="121">
                  <c:v>FEB17</c:v>
                </c:pt>
                <c:pt idx="122">
                  <c:v>MAR17</c:v>
                </c:pt>
                <c:pt idx="123">
                  <c:v>APR17</c:v>
                </c:pt>
                <c:pt idx="124">
                  <c:v>MAY17</c:v>
                </c:pt>
                <c:pt idx="125">
                  <c:v>JUN17</c:v>
                </c:pt>
                <c:pt idx="126">
                  <c:v>JUL17</c:v>
                </c:pt>
                <c:pt idx="127">
                  <c:v>AUG17</c:v>
                </c:pt>
                <c:pt idx="128">
                  <c:v>SEP17</c:v>
                </c:pt>
                <c:pt idx="129">
                  <c:v>OCT17</c:v>
                </c:pt>
                <c:pt idx="130">
                  <c:v>NOV17</c:v>
                </c:pt>
                <c:pt idx="131">
                  <c:v>DEC17</c:v>
                </c:pt>
                <c:pt idx="132">
                  <c:v>JAN18</c:v>
                </c:pt>
                <c:pt idx="133">
                  <c:v>FEB18</c:v>
                </c:pt>
                <c:pt idx="134">
                  <c:v>MAR18</c:v>
                </c:pt>
              </c:strCache>
            </c:strRef>
          </c:cat>
          <c:val>
            <c:numRef>
              <c:f>'overall UZA ridership'!$B$20:$EF$20</c:f>
              <c:numCache>
                <c:formatCode>General</c:formatCode>
                <c:ptCount val="135"/>
                <c:pt idx="0">
                  <c:v>32106432.75</c:v>
                </c:pt>
                <c:pt idx="1">
                  <c:v>31759692.666666668</c:v>
                </c:pt>
                <c:pt idx="2">
                  <c:v>31765648.583333332</c:v>
                </c:pt>
                <c:pt idx="3">
                  <c:v>31583498.5</c:v>
                </c:pt>
                <c:pt idx="4">
                  <c:v>31476608.416666668</c:v>
                </c:pt>
                <c:pt idx="5">
                  <c:v>31440873.416666668</c:v>
                </c:pt>
                <c:pt idx="6">
                  <c:v>31485747.333333336</c:v>
                </c:pt>
                <c:pt idx="7">
                  <c:v>31569674.916666668</c:v>
                </c:pt>
                <c:pt idx="8">
                  <c:v>31543021.333333336</c:v>
                </c:pt>
                <c:pt idx="9">
                  <c:v>31502496.833333336</c:v>
                </c:pt>
                <c:pt idx="10">
                  <c:v>31349414.916666668</c:v>
                </c:pt>
                <c:pt idx="11">
                  <c:v>31131797.083333332</c:v>
                </c:pt>
                <c:pt idx="12">
                  <c:v>31267294.416666668</c:v>
                </c:pt>
                <c:pt idx="13">
                  <c:v>31538312.666666668</c:v>
                </c:pt>
                <c:pt idx="14">
                  <c:v>31597849.833333336</c:v>
                </c:pt>
                <c:pt idx="15">
                  <c:v>31866652.25</c:v>
                </c:pt>
                <c:pt idx="16">
                  <c:v>31954682</c:v>
                </c:pt>
                <c:pt idx="17">
                  <c:v>32107469.583333332</c:v>
                </c:pt>
                <c:pt idx="18">
                  <c:v>32391315.916666668</c:v>
                </c:pt>
                <c:pt idx="19">
                  <c:v>32292262.5</c:v>
                </c:pt>
                <c:pt idx="20">
                  <c:v>32432409.583333332</c:v>
                </c:pt>
                <c:pt idx="21">
                  <c:v>32647925.916666668</c:v>
                </c:pt>
                <c:pt idx="22">
                  <c:v>32590708.25</c:v>
                </c:pt>
                <c:pt idx="23">
                  <c:v>32732123.583333332</c:v>
                </c:pt>
                <c:pt idx="24">
                  <c:v>32587308.416666668</c:v>
                </c:pt>
                <c:pt idx="25">
                  <c:v>32459606</c:v>
                </c:pt>
                <c:pt idx="26">
                  <c:v>32406830.583333332</c:v>
                </c:pt>
                <c:pt idx="27">
                  <c:v>32275044.916666668</c:v>
                </c:pt>
                <c:pt idx="28">
                  <c:v>32070234.333333336</c:v>
                </c:pt>
                <c:pt idx="29">
                  <c:v>31939649.333333336</c:v>
                </c:pt>
                <c:pt idx="30">
                  <c:v>31766722.25</c:v>
                </c:pt>
                <c:pt idx="31">
                  <c:v>31694445.833333336</c:v>
                </c:pt>
                <c:pt idx="32">
                  <c:v>31676619.25</c:v>
                </c:pt>
                <c:pt idx="33">
                  <c:v>31596826.5</c:v>
                </c:pt>
                <c:pt idx="34">
                  <c:v>31626498.166666668</c:v>
                </c:pt>
                <c:pt idx="35">
                  <c:v>31601692.083333332</c:v>
                </c:pt>
                <c:pt idx="36">
                  <c:v>31454644.666666668</c:v>
                </c:pt>
                <c:pt idx="37">
                  <c:v>31291137.916666668</c:v>
                </c:pt>
                <c:pt idx="38">
                  <c:v>31278756</c:v>
                </c:pt>
                <c:pt idx="39">
                  <c:v>31194945.416666668</c:v>
                </c:pt>
                <c:pt idx="40">
                  <c:v>31111250.666666668</c:v>
                </c:pt>
                <c:pt idx="41">
                  <c:v>31015793.166666668</c:v>
                </c:pt>
                <c:pt idx="42">
                  <c:v>30902982.833333336</c:v>
                </c:pt>
                <c:pt idx="43">
                  <c:v>30948845.666666668</c:v>
                </c:pt>
                <c:pt idx="44">
                  <c:v>30870443.833333336</c:v>
                </c:pt>
                <c:pt idx="45">
                  <c:v>30828651.25</c:v>
                </c:pt>
                <c:pt idx="46">
                  <c:v>30934803</c:v>
                </c:pt>
                <c:pt idx="47">
                  <c:v>30971923.166666668</c:v>
                </c:pt>
                <c:pt idx="48">
                  <c:v>31085191.833333336</c:v>
                </c:pt>
                <c:pt idx="49">
                  <c:v>31237020.583333332</c:v>
                </c:pt>
                <c:pt idx="50">
                  <c:v>31501939.583333332</c:v>
                </c:pt>
                <c:pt idx="51">
                  <c:v>31684347.5</c:v>
                </c:pt>
                <c:pt idx="52">
                  <c:v>31985005.5</c:v>
                </c:pt>
                <c:pt idx="53">
                  <c:v>32280510.75</c:v>
                </c:pt>
                <c:pt idx="54">
                  <c:v>32398191.75</c:v>
                </c:pt>
                <c:pt idx="55">
                  <c:v>32557554.416666668</c:v>
                </c:pt>
                <c:pt idx="56">
                  <c:v>32807570.666666668</c:v>
                </c:pt>
                <c:pt idx="57">
                  <c:v>32896092.5</c:v>
                </c:pt>
                <c:pt idx="58">
                  <c:v>33041124.25</c:v>
                </c:pt>
                <c:pt idx="59">
                  <c:v>33200869.5</c:v>
                </c:pt>
                <c:pt idx="60">
                  <c:v>33441436.416666668</c:v>
                </c:pt>
                <c:pt idx="61">
                  <c:v>33725577.666666672</c:v>
                </c:pt>
                <c:pt idx="62">
                  <c:v>33823950.5</c:v>
                </c:pt>
                <c:pt idx="63">
                  <c:v>33913365.5</c:v>
                </c:pt>
                <c:pt idx="64">
                  <c:v>34080539.916666664</c:v>
                </c:pt>
                <c:pt idx="65">
                  <c:v>34045076</c:v>
                </c:pt>
                <c:pt idx="66">
                  <c:v>34051530.083333336</c:v>
                </c:pt>
                <c:pt idx="67">
                  <c:v>34154148.166666672</c:v>
                </c:pt>
                <c:pt idx="68">
                  <c:v>34072030.5</c:v>
                </c:pt>
                <c:pt idx="69">
                  <c:v>34169365.166666672</c:v>
                </c:pt>
                <c:pt idx="70">
                  <c:v>34204888.833333336</c:v>
                </c:pt>
                <c:pt idx="71">
                  <c:v>34074392.916666664</c:v>
                </c:pt>
                <c:pt idx="72">
                  <c:v>34143339.583333336</c:v>
                </c:pt>
                <c:pt idx="73">
                  <c:v>33879178.833333336</c:v>
                </c:pt>
                <c:pt idx="74">
                  <c:v>33763639.25</c:v>
                </c:pt>
                <c:pt idx="75">
                  <c:v>33695731.333333336</c:v>
                </c:pt>
                <c:pt idx="76">
                  <c:v>33685544.833333336</c:v>
                </c:pt>
                <c:pt idx="77">
                  <c:v>33597831.916666664</c:v>
                </c:pt>
                <c:pt idx="78">
                  <c:v>33689059.083333336</c:v>
                </c:pt>
                <c:pt idx="79">
                  <c:v>33644989.916666664</c:v>
                </c:pt>
                <c:pt idx="80">
                  <c:v>33755605.5</c:v>
                </c:pt>
                <c:pt idx="81">
                  <c:v>33926561.583333336</c:v>
                </c:pt>
                <c:pt idx="82">
                  <c:v>33928526.083333336</c:v>
                </c:pt>
                <c:pt idx="83">
                  <c:v>34013269.916666664</c:v>
                </c:pt>
                <c:pt idx="84">
                  <c:v>34000698.333333336</c:v>
                </c:pt>
                <c:pt idx="85">
                  <c:v>34201830</c:v>
                </c:pt>
                <c:pt idx="86">
                  <c:v>34274070.916666664</c:v>
                </c:pt>
                <c:pt idx="87">
                  <c:v>34522214.583333336</c:v>
                </c:pt>
                <c:pt idx="88">
                  <c:v>34599097</c:v>
                </c:pt>
                <c:pt idx="89">
                  <c:v>34795334.333333336</c:v>
                </c:pt>
                <c:pt idx="90">
                  <c:v>34903487.416666664</c:v>
                </c:pt>
                <c:pt idx="91">
                  <c:v>34875024.166666672</c:v>
                </c:pt>
                <c:pt idx="92">
                  <c:v>34987283.083333336</c:v>
                </c:pt>
                <c:pt idx="93">
                  <c:v>35064577.25</c:v>
                </c:pt>
                <c:pt idx="94">
                  <c:v>35028353.166666672</c:v>
                </c:pt>
                <c:pt idx="95">
                  <c:v>35212427.583333336</c:v>
                </c:pt>
                <c:pt idx="96">
                  <c:v>35061503.166666672</c:v>
                </c:pt>
                <c:pt idx="97">
                  <c:v>34560184</c:v>
                </c:pt>
                <c:pt idx="98">
                  <c:v>34573398</c:v>
                </c:pt>
                <c:pt idx="99">
                  <c:v>34530917.666666672</c:v>
                </c:pt>
                <c:pt idx="100">
                  <c:v>34446741.75</c:v>
                </c:pt>
                <c:pt idx="101">
                  <c:v>34497317</c:v>
                </c:pt>
                <c:pt idx="102">
                  <c:v>34436174.916666664</c:v>
                </c:pt>
                <c:pt idx="103">
                  <c:v>34379148.5</c:v>
                </c:pt>
                <c:pt idx="104">
                  <c:v>34291464.5</c:v>
                </c:pt>
                <c:pt idx="105">
                  <c:v>34099258.5</c:v>
                </c:pt>
                <c:pt idx="106">
                  <c:v>34022241.916666664</c:v>
                </c:pt>
                <c:pt idx="107">
                  <c:v>33921735.75</c:v>
                </c:pt>
                <c:pt idx="108">
                  <c:v>33936097.666666672</c:v>
                </c:pt>
                <c:pt idx="109">
                  <c:v>34412477.75</c:v>
                </c:pt>
                <c:pt idx="110">
                  <c:v>34400913.416666664</c:v>
                </c:pt>
                <c:pt idx="111">
                  <c:v>34325907</c:v>
                </c:pt>
                <c:pt idx="112">
                  <c:v>34292589.833333336</c:v>
                </c:pt>
                <c:pt idx="113">
                  <c:v>34291994.916666664</c:v>
                </c:pt>
                <c:pt idx="114">
                  <c:v>34055413.666666672</c:v>
                </c:pt>
                <c:pt idx="115">
                  <c:v>34067166.083333336</c:v>
                </c:pt>
                <c:pt idx="116">
                  <c:v>33922168.416666664</c:v>
                </c:pt>
                <c:pt idx="117">
                  <c:v>33672212.75</c:v>
                </c:pt>
                <c:pt idx="118">
                  <c:v>33620158.833333336</c:v>
                </c:pt>
                <c:pt idx="119">
                  <c:v>33410236</c:v>
                </c:pt>
                <c:pt idx="120">
                  <c:v>33448097.083333332</c:v>
                </c:pt>
                <c:pt idx="121">
                  <c:v>33247704.75</c:v>
                </c:pt>
                <c:pt idx="122">
                  <c:v>33082286.166666668</c:v>
                </c:pt>
                <c:pt idx="123">
                  <c:v>32838102.583333332</c:v>
                </c:pt>
                <c:pt idx="124">
                  <c:v>32738918.416666668</c:v>
                </c:pt>
                <c:pt idx="125">
                  <c:v>32555593.833333336</c:v>
                </c:pt>
                <c:pt idx="126">
                  <c:v>32462821.916666668</c:v>
                </c:pt>
                <c:pt idx="127">
                  <c:v>32416433.166666668</c:v>
                </c:pt>
                <c:pt idx="128">
                  <c:v>32345621.166666668</c:v>
                </c:pt>
                <c:pt idx="129">
                  <c:v>32313087.416666668</c:v>
                </c:pt>
                <c:pt idx="130">
                  <c:v>32191282.666666668</c:v>
                </c:pt>
                <c:pt idx="131">
                  <c:v>31964876</c:v>
                </c:pt>
                <c:pt idx="132">
                  <c:v>31623401.25</c:v>
                </c:pt>
                <c:pt idx="133">
                  <c:v>31425636.25</c:v>
                </c:pt>
                <c:pt idx="134">
                  <c:v>31090655.83333333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F6DC-40B0-A604-4A9C932C9C9D}"/>
            </c:ext>
          </c:extLst>
        </c:ser>
        <c:ser>
          <c:idx val="1"/>
          <c:order val="1"/>
          <c:tx>
            <c:strRef>
              <c:f>'overall UZA ridership'!$A$21</c:f>
              <c:strCache>
                <c:ptCount val="1"/>
                <c:pt idx="0">
                  <c:v>Chicago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'overall UZA ridership'!$B$1:$EF$1</c:f>
              <c:strCache>
                <c:ptCount val="135"/>
                <c:pt idx="0">
                  <c:v>JAN07</c:v>
                </c:pt>
                <c:pt idx="1">
                  <c:v>FEB07</c:v>
                </c:pt>
                <c:pt idx="2">
                  <c:v>MAR07</c:v>
                </c:pt>
                <c:pt idx="3">
                  <c:v>APR07</c:v>
                </c:pt>
                <c:pt idx="4">
                  <c:v>MAY07</c:v>
                </c:pt>
                <c:pt idx="5">
                  <c:v>JUN07</c:v>
                </c:pt>
                <c:pt idx="6">
                  <c:v>JUL07</c:v>
                </c:pt>
                <c:pt idx="7">
                  <c:v>AUG07</c:v>
                </c:pt>
                <c:pt idx="8">
                  <c:v>SEP07</c:v>
                </c:pt>
                <c:pt idx="9">
                  <c:v>OCT07</c:v>
                </c:pt>
                <c:pt idx="10">
                  <c:v>NOV07</c:v>
                </c:pt>
                <c:pt idx="11">
                  <c:v>DEC07</c:v>
                </c:pt>
                <c:pt idx="12">
                  <c:v>JAN08</c:v>
                </c:pt>
                <c:pt idx="13">
                  <c:v>FEB08</c:v>
                </c:pt>
                <c:pt idx="14">
                  <c:v>MAR08</c:v>
                </c:pt>
                <c:pt idx="15">
                  <c:v>APR08</c:v>
                </c:pt>
                <c:pt idx="16">
                  <c:v>MAY08</c:v>
                </c:pt>
                <c:pt idx="17">
                  <c:v>JUN08</c:v>
                </c:pt>
                <c:pt idx="18">
                  <c:v>JUL08</c:v>
                </c:pt>
                <c:pt idx="19">
                  <c:v>AUG08</c:v>
                </c:pt>
                <c:pt idx="20">
                  <c:v>SEP08</c:v>
                </c:pt>
                <c:pt idx="21">
                  <c:v>OCT08</c:v>
                </c:pt>
                <c:pt idx="22">
                  <c:v>NOV08</c:v>
                </c:pt>
                <c:pt idx="23">
                  <c:v>DEC08</c:v>
                </c:pt>
                <c:pt idx="24">
                  <c:v>JAN09</c:v>
                </c:pt>
                <c:pt idx="25">
                  <c:v>FEB09</c:v>
                </c:pt>
                <c:pt idx="26">
                  <c:v>MAR09</c:v>
                </c:pt>
                <c:pt idx="27">
                  <c:v>APR09</c:v>
                </c:pt>
                <c:pt idx="28">
                  <c:v>MAY09</c:v>
                </c:pt>
                <c:pt idx="29">
                  <c:v>JUN09</c:v>
                </c:pt>
                <c:pt idx="30">
                  <c:v>JUL09</c:v>
                </c:pt>
                <c:pt idx="31">
                  <c:v>AUG09</c:v>
                </c:pt>
                <c:pt idx="32">
                  <c:v>SEP09</c:v>
                </c:pt>
                <c:pt idx="33">
                  <c:v>OCT09</c:v>
                </c:pt>
                <c:pt idx="34">
                  <c:v>NOV09</c:v>
                </c:pt>
                <c:pt idx="35">
                  <c:v>DEC09</c:v>
                </c:pt>
                <c:pt idx="36">
                  <c:v>JAN10</c:v>
                </c:pt>
                <c:pt idx="37">
                  <c:v>FEB10</c:v>
                </c:pt>
                <c:pt idx="38">
                  <c:v>MAR10</c:v>
                </c:pt>
                <c:pt idx="39">
                  <c:v>APR10</c:v>
                </c:pt>
                <c:pt idx="40">
                  <c:v>MAY10</c:v>
                </c:pt>
                <c:pt idx="41">
                  <c:v>JUN10</c:v>
                </c:pt>
                <c:pt idx="42">
                  <c:v>JUL10</c:v>
                </c:pt>
                <c:pt idx="43">
                  <c:v>AUG10</c:v>
                </c:pt>
                <c:pt idx="44">
                  <c:v>SEP10</c:v>
                </c:pt>
                <c:pt idx="45">
                  <c:v>OCT10</c:v>
                </c:pt>
                <c:pt idx="46">
                  <c:v>NOV10</c:v>
                </c:pt>
                <c:pt idx="47">
                  <c:v>DEC10</c:v>
                </c:pt>
                <c:pt idx="48">
                  <c:v>JAN11</c:v>
                </c:pt>
                <c:pt idx="49">
                  <c:v>FEB11</c:v>
                </c:pt>
                <c:pt idx="50">
                  <c:v>MAR11</c:v>
                </c:pt>
                <c:pt idx="51">
                  <c:v>APR11</c:v>
                </c:pt>
                <c:pt idx="52">
                  <c:v>MAY11</c:v>
                </c:pt>
                <c:pt idx="53">
                  <c:v>JUN11</c:v>
                </c:pt>
                <c:pt idx="54">
                  <c:v>JUL11</c:v>
                </c:pt>
                <c:pt idx="55">
                  <c:v>AUG11</c:v>
                </c:pt>
                <c:pt idx="56">
                  <c:v>SEP11</c:v>
                </c:pt>
                <c:pt idx="57">
                  <c:v>OCT11</c:v>
                </c:pt>
                <c:pt idx="58">
                  <c:v>NOV11</c:v>
                </c:pt>
                <c:pt idx="59">
                  <c:v>DEC11</c:v>
                </c:pt>
                <c:pt idx="60">
                  <c:v>JAN12</c:v>
                </c:pt>
                <c:pt idx="61">
                  <c:v>FEB12</c:v>
                </c:pt>
                <c:pt idx="62">
                  <c:v>MAR12</c:v>
                </c:pt>
                <c:pt idx="63">
                  <c:v>APR12</c:v>
                </c:pt>
                <c:pt idx="64">
                  <c:v>MAY12</c:v>
                </c:pt>
                <c:pt idx="65">
                  <c:v>JUN12</c:v>
                </c:pt>
                <c:pt idx="66">
                  <c:v>JUL12</c:v>
                </c:pt>
                <c:pt idx="67">
                  <c:v>AUG12</c:v>
                </c:pt>
                <c:pt idx="68">
                  <c:v>SEP12</c:v>
                </c:pt>
                <c:pt idx="69">
                  <c:v>OCT12</c:v>
                </c:pt>
                <c:pt idx="70">
                  <c:v>NOV12</c:v>
                </c:pt>
                <c:pt idx="71">
                  <c:v>DEC12</c:v>
                </c:pt>
                <c:pt idx="72">
                  <c:v>JAN13</c:v>
                </c:pt>
                <c:pt idx="73">
                  <c:v>FEB13</c:v>
                </c:pt>
                <c:pt idx="74">
                  <c:v>MAR13</c:v>
                </c:pt>
                <c:pt idx="75">
                  <c:v>APR13</c:v>
                </c:pt>
                <c:pt idx="76">
                  <c:v>MAY13</c:v>
                </c:pt>
                <c:pt idx="77">
                  <c:v>JUN13</c:v>
                </c:pt>
                <c:pt idx="78">
                  <c:v>JUL13</c:v>
                </c:pt>
                <c:pt idx="79">
                  <c:v>AUG13</c:v>
                </c:pt>
                <c:pt idx="80">
                  <c:v>SEP13</c:v>
                </c:pt>
                <c:pt idx="81">
                  <c:v>OCT13</c:v>
                </c:pt>
                <c:pt idx="82">
                  <c:v>NOV13</c:v>
                </c:pt>
                <c:pt idx="83">
                  <c:v>DEC13</c:v>
                </c:pt>
                <c:pt idx="84">
                  <c:v>JAN14</c:v>
                </c:pt>
                <c:pt idx="85">
                  <c:v>FEB14</c:v>
                </c:pt>
                <c:pt idx="86">
                  <c:v>MAR14</c:v>
                </c:pt>
                <c:pt idx="87">
                  <c:v>APR14</c:v>
                </c:pt>
                <c:pt idx="88">
                  <c:v>MAY14</c:v>
                </c:pt>
                <c:pt idx="89">
                  <c:v>JUN14</c:v>
                </c:pt>
                <c:pt idx="90">
                  <c:v>JUL14</c:v>
                </c:pt>
                <c:pt idx="91">
                  <c:v>AUG14</c:v>
                </c:pt>
                <c:pt idx="92">
                  <c:v>SEP14</c:v>
                </c:pt>
                <c:pt idx="93">
                  <c:v>OCT14</c:v>
                </c:pt>
                <c:pt idx="94">
                  <c:v>NOV14</c:v>
                </c:pt>
                <c:pt idx="95">
                  <c:v>DEC14</c:v>
                </c:pt>
                <c:pt idx="96">
                  <c:v>JAN15</c:v>
                </c:pt>
                <c:pt idx="97">
                  <c:v>FEB15</c:v>
                </c:pt>
                <c:pt idx="98">
                  <c:v>MAR15</c:v>
                </c:pt>
                <c:pt idx="99">
                  <c:v>APR15</c:v>
                </c:pt>
                <c:pt idx="100">
                  <c:v>MAY15</c:v>
                </c:pt>
                <c:pt idx="101">
                  <c:v>JUN15</c:v>
                </c:pt>
                <c:pt idx="102">
                  <c:v>JUL15</c:v>
                </c:pt>
                <c:pt idx="103">
                  <c:v>AUG15</c:v>
                </c:pt>
                <c:pt idx="104">
                  <c:v>SEP15</c:v>
                </c:pt>
                <c:pt idx="105">
                  <c:v>OCT15</c:v>
                </c:pt>
                <c:pt idx="106">
                  <c:v>NOV15</c:v>
                </c:pt>
                <c:pt idx="107">
                  <c:v>DEC15</c:v>
                </c:pt>
                <c:pt idx="108">
                  <c:v>JAN16</c:v>
                </c:pt>
                <c:pt idx="109">
                  <c:v>FEB16</c:v>
                </c:pt>
                <c:pt idx="110">
                  <c:v>MAR16</c:v>
                </c:pt>
                <c:pt idx="111">
                  <c:v>APR16</c:v>
                </c:pt>
                <c:pt idx="112">
                  <c:v>MAY16</c:v>
                </c:pt>
                <c:pt idx="113">
                  <c:v>JUN16</c:v>
                </c:pt>
                <c:pt idx="114">
                  <c:v>JUL16</c:v>
                </c:pt>
                <c:pt idx="115">
                  <c:v>AUG16</c:v>
                </c:pt>
                <c:pt idx="116">
                  <c:v>SEP16</c:v>
                </c:pt>
                <c:pt idx="117">
                  <c:v>OCT16</c:v>
                </c:pt>
                <c:pt idx="118">
                  <c:v>NOV16</c:v>
                </c:pt>
                <c:pt idx="119">
                  <c:v>DEC16</c:v>
                </c:pt>
                <c:pt idx="120">
                  <c:v>JAN17</c:v>
                </c:pt>
                <c:pt idx="121">
                  <c:v>FEB17</c:v>
                </c:pt>
                <c:pt idx="122">
                  <c:v>MAR17</c:v>
                </c:pt>
                <c:pt idx="123">
                  <c:v>APR17</c:v>
                </c:pt>
                <c:pt idx="124">
                  <c:v>MAY17</c:v>
                </c:pt>
                <c:pt idx="125">
                  <c:v>JUN17</c:v>
                </c:pt>
                <c:pt idx="126">
                  <c:v>JUL17</c:v>
                </c:pt>
                <c:pt idx="127">
                  <c:v>AUG17</c:v>
                </c:pt>
                <c:pt idx="128">
                  <c:v>SEP17</c:v>
                </c:pt>
                <c:pt idx="129">
                  <c:v>OCT17</c:v>
                </c:pt>
                <c:pt idx="130">
                  <c:v>NOV17</c:v>
                </c:pt>
                <c:pt idx="131">
                  <c:v>DEC17</c:v>
                </c:pt>
                <c:pt idx="132">
                  <c:v>JAN18</c:v>
                </c:pt>
                <c:pt idx="133">
                  <c:v>FEB18</c:v>
                </c:pt>
                <c:pt idx="134">
                  <c:v>MAR18</c:v>
                </c:pt>
              </c:strCache>
            </c:strRef>
          </c:cat>
          <c:val>
            <c:numRef>
              <c:f>'overall UZA ridership'!$B$21:$EF$21</c:f>
              <c:numCache>
                <c:formatCode>General</c:formatCode>
                <c:ptCount val="135"/>
                <c:pt idx="0">
                  <c:v>51009298.833333336</c:v>
                </c:pt>
                <c:pt idx="1">
                  <c:v>50863395.416666664</c:v>
                </c:pt>
                <c:pt idx="2">
                  <c:v>50859780.666666672</c:v>
                </c:pt>
                <c:pt idx="3">
                  <c:v>50957048.333333336</c:v>
                </c:pt>
                <c:pt idx="4">
                  <c:v>51049151.583333336</c:v>
                </c:pt>
                <c:pt idx="5">
                  <c:v>51088524.916666664</c:v>
                </c:pt>
                <c:pt idx="6">
                  <c:v>51267624.833333336</c:v>
                </c:pt>
                <c:pt idx="7">
                  <c:v>51340720.916666664</c:v>
                </c:pt>
                <c:pt idx="8">
                  <c:v>51349706</c:v>
                </c:pt>
                <c:pt idx="9">
                  <c:v>51583139.666666672</c:v>
                </c:pt>
                <c:pt idx="10">
                  <c:v>51615000.916666664</c:v>
                </c:pt>
                <c:pt idx="11">
                  <c:v>51580714.583333336</c:v>
                </c:pt>
                <c:pt idx="12">
                  <c:v>51705012.666666672</c:v>
                </c:pt>
                <c:pt idx="13">
                  <c:v>52052847.666666672</c:v>
                </c:pt>
                <c:pt idx="14">
                  <c:v>51928828.916666664</c:v>
                </c:pt>
                <c:pt idx="15">
                  <c:v>52355390.166666672</c:v>
                </c:pt>
                <c:pt idx="16">
                  <c:v>52483632.75</c:v>
                </c:pt>
                <c:pt idx="17">
                  <c:v>52733091.25</c:v>
                </c:pt>
                <c:pt idx="18">
                  <c:v>53159080.166666672</c:v>
                </c:pt>
                <c:pt idx="19">
                  <c:v>53406928.416666664</c:v>
                </c:pt>
                <c:pt idx="20">
                  <c:v>53789100.083333336</c:v>
                </c:pt>
                <c:pt idx="21">
                  <c:v>54053198.25</c:v>
                </c:pt>
                <c:pt idx="22">
                  <c:v>54061466.75</c:v>
                </c:pt>
                <c:pt idx="23">
                  <c:v>54188876</c:v>
                </c:pt>
                <c:pt idx="24">
                  <c:v>54073623.166666672</c:v>
                </c:pt>
                <c:pt idx="25">
                  <c:v>54102876.833333336</c:v>
                </c:pt>
                <c:pt idx="26">
                  <c:v>54307713.5</c:v>
                </c:pt>
                <c:pt idx="27">
                  <c:v>54094628.25</c:v>
                </c:pt>
                <c:pt idx="28">
                  <c:v>53881058.583333336</c:v>
                </c:pt>
                <c:pt idx="29">
                  <c:v>53740129.25</c:v>
                </c:pt>
                <c:pt idx="30">
                  <c:v>53522631.583333336</c:v>
                </c:pt>
                <c:pt idx="31">
                  <c:v>53234501.916666664</c:v>
                </c:pt>
                <c:pt idx="32">
                  <c:v>53062548.25</c:v>
                </c:pt>
                <c:pt idx="33">
                  <c:v>52720046.75</c:v>
                </c:pt>
                <c:pt idx="34">
                  <c:v>52734007.916666664</c:v>
                </c:pt>
                <c:pt idx="35">
                  <c:v>52747698</c:v>
                </c:pt>
                <c:pt idx="36">
                  <c:v>52726663.583333336</c:v>
                </c:pt>
                <c:pt idx="37">
                  <c:v>52657097.416666664</c:v>
                </c:pt>
                <c:pt idx="38">
                  <c:v>52663457.583333336</c:v>
                </c:pt>
                <c:pt idx="39">
                  <c:v>52695674.833333336</c:v>
                </c:pt>
                <c:pt idx="40">
                  <c:v>52604071.083333336</c:v>
                </c:pt>
                <c:pt idx="41">
                  <c:v>52600636.5</c:v>
                </c:pt>
                <c:pt idx="42">
                  <c:v>52428716</c:v>
                </c:pt>
                <c:pt idx="43">
                  <c:v>52529918.333333336</c:v>
                </c:pt>
                <c:pt idx="44">
                  <c:v>52504839.333333336</c:v>
                </c:pt>
                <c:pt idx="45">
                  <c:v>52432119.833333336</c:v>
                </c:pt>
                <c:pt idx="46">
                  <c:v>52452204.666666672</c:v>
                </c:pt>
                <c:pt idx="47">
                  <c:v>52328004.5</c:v>
                </c:pt>
                <c:pt idx="48">
                  <c:v>52358605.833333336</c:v>
                </c:pt>
                <c:pt idx="49">
                  <c:v>52261254.583333336</c:v>
                </c:pt>
                <c:pt idx="50">
                  <c:v>52418470.583333336</c:v>
                </c:pt>
                <c:pt idx="51">
                  <c:v>52404543.416666664</c:v>
                </c:pt>
                <c:pt idx="52">
                  <c:v>52570996.666666672</c:v>
                </c:pt>
                <c:pt idx="53">
                  <c:v>52734680.333333336</c:v>
                </c:pt>
                <c:pt idx="54">
                  <c:v>52763486.916666664</c:v>
                </c:pt>
                <c:pt idx="55">
                  <c:v>53012505.583333336</c:v>
                </c:pt>
                <c:pt idx="56">
                  <c:v>53161072</c:v>
                </c:pt>
                <c:pt idx="57">
                  <c:v>53332719.083333336</c:v>
                </c:pt>
                <c:pt idx="58">
                  <c:v>53526954.083333336</c:v>
                </c:pt>
                <c:pt idx="59">
                  <c:v>53881773.833333336</c:v>
                </c:pt>
                <c:pt idx="60">
                  <c:v>54084969.416666664</c:v>
                </c:pt>
                <c:pt idx="61">
                  <c:v>54602884.833333336</c:v>
                </c:pt>
                <c:pt idx="62">
                  <c:v>54768623.583333336</c:v>
                </c:pt>
                <c:pt idx="63">
                  <c:v>54884878.166666672</c:v>
                </c:pt>
                <c:pt idx="64">
                  <c:v>55101258.583333336</c:v>
                </c:pt>
                <c:pt idx="65">
                  <c:v>55135704.75</c:v>
                </c:pt>
                <c:pt idx="66">
                  <c:v>55200769.5</c:v>
                </c:pt>
                <c:pt idx="67">
                  <c:v>55277500.5</c:v>
                </c:pt>
                <c:pt idx="68">
                  <c:v>55193618.083333336</c:v>
                </c:pt>
                <c:pt idx="69">
                  <c:v>55439532.75</c:v>
                </c:pt>
                <c:pt idx="70">
                  <c:v>55499499.083333336</c:v>
                </c:pt>
                <c:pt idx="71">
                  <c:v>55342303</c:v>
                </c:pt>
                <c:pt idx="72">
                  <c:v>55337086.25</c:v>
                </c:pt>
                <c:pt idx="73">
                  <c:v>55054848.666666672</c:v>
                </c:pt>
                <c:pt idx="74">
                  <c:v>54728518.666666672</c:v>
                </c:pt>
                <c:pt idx="75">
                  <c:v>54791516.833333336</c:v>
                </c:pt>
                <c:pt idx="76">
                  <c:v>54738219.583333336</c:v>
                </c:pt>
                <c:pt idx="77">
                  <c:v>54579306.166666672</c:v>
                </c:pt>
                <c:pt idx="78">
                  <c:v>54677461.833333336</c:v>
                </c:pt>
                <c:pt idx="79">
                  <c:v>54492964.083333336</c:v>
                </c:pt>
                <c:pt idx="80">
                  <c:v>54497572.583333336</c:v>
                </c:pt>
                <c:pt idx="81">
                  <c:v>54347585</c:v>
                </c:pt>
                <c:pt idx="82">
                  <c:v>54088811.666666672</c:v>
                </c:pt>
                <c:pt idx="83">
                  <c:v>53976144.666666672</c:v>
                </c:pt>
                <c:pt idx="84">
                  <c:v>53558759.416666664</c:v>
                </c:pt>
                <c:pt idx="85">
                  <c:v>53456655.416666664</c:v>
                </c:pt>
                <c:pt idx="86">
                  <c:v>53508703.5</c:v>
                </c:pt>
                <c:pt idx="87">
                  <c:v>53448459.416666664</c:v>
                </c:pt>
                <c:pt idx="88">
                  <c:v>53335088.416666664</c:v>
                </c:pt>
                <c:pt idx="89">
                  <c:v>53234169.166666672</c:v>
                </c:pt>
                <c:pt idx="90">
                  <c:v>53105589.333333336</c:v>
                </c:pt>
                <c:pt idx="91">
                  <c:v>52863458.25</c:v>
                </c:pt>
                <c:pt idx="92">
                  <c:v>52830493.5</c:v>
                </c:pt>
                <c:pt idx="93">
                  <c:v>52768715</c:v>
                </c:pt>
                <c:pt idx="94">
                  <c:v>52575166.833333336</c:v>
                </c:pt>
                <c:pt idx="95">
                  <c:v>52716087.75</c:v>
                </c:pt>
                <c:pt idx="96">
                  <c:v>52862900.083333336</c:v>
                </c:pt>
                <c:pt idx="97">
                  <c:v>52712395.083333336</c:v>
                </c:pt>
                <c:pt idx="98">
                  <c:v>52696739.416666664</c:v>
                </c:pt>
                <c:pt idx="99">
                  <c:v>52603783.833333336</c:v>
                </c:pt>
                <c:pt idx="100">
                  <c:v>52457034.25</c:v>
                </c:pt>
                <c:pt idx="101">
                  <c:v>52589543.833333336</c:v>
                </c:pt>
                <c:pt idx="102">
                  <c:v>52673357.75</c:v>
                </c:pt>
                <c:pt idx="103">
                  <c:v>52688665.166666672</c:v>
                </c:pt>
                <c:pt idx="104">
                  <c:v>52654088</c:v>
                </c:pt>
                <c:pt idx="105">
                  <c:v>52583148.666666672</c:v>
                </c:pt>
                <c:pt idx="106">
                  <c:v>52644977.333333336</c:v>
                </c:pt>
                <c:pt idx="107">
                  <c:v>52571140.5</c:v>
                </c:pt>
                <c:pt idx="108">
                  <c:v>52508501.083333336</c:v>
                </c:pt>
                <c:pt idx="109">
                  <c:v>52687978.75</c:v>
                </c:pt>
                <c:pt idx="110">
                  <c:v>52603857.5</c:v>
                </c:pt>
                <c:pt idx="111">
                  <c:v>52402756.5</c:v>
                </c:pt>
                <c:pt idx="112">
                  <c:v>52298304.166666672</c:v>
                </c:pt>
                <c:pt idx="113">
                  <c:v>52129487.583333336</c:v>
                </c:pt>
                <c:pt idx="114">
                  <c:v>51765826.583333336</c:v>
                </c:pt>
                <c:pt idx="115">
                  <c:v>51663799.5</c:v>
                </c:pt>
                <c:pt idx="116">
                  <c:v>51475718.75</c:v>
                </c:pt>
                <c:pt idx="117">
                  <c:v>51197206.666666672</c:v>
                </c:pt>
                <c:pt idx="118">
                  <c:v>51216444.583333336</c:v>
                </c:pt>
                <c:pt idx="119">
                  <c:v>50875861.75</c:v>
                </c:pt>
                <c:pt idx="120">
                  <c:v>50771589.25</c:v>
                </c:pt>
                <c:pt idx="121">
                  <c:v>50494788.333333336</c:v>
                </c:pt>
                <c:pt idx="122">
                  <c:v>50308431</c:v>
                </c:pt>
                <c:pt idx="123">
                  <c:v>50048216.583333336</c:v>
                </c:pt>
                <c:pt idx="124">
                  <c:v>49995039.166666672</c:v>
                </c:pt>
                <c:pt idx="125">
                  <c:v>49899065</c:v>
                </c:pt>
                <c:pt idx="126">
                  <c:v>49735581.416666664</c:v>
                </c:pt>
                <c:pt idx="127">
                  <c:v>49725101.25</c:v>
                </c:pt>
                <c:pt idx="128">
                  <c:v>49587932.25</c:v>
                </c:pt>
                <c:pt idx="129">
                  <c:v>49494772.916666664</c:v>
                </c:pt>
                <c:pt idx="130">
                  <c:v>49322890</c:v>
                </c:pt>
                <c:pt idx="131">
                  <c:v>49219741.166666672</c:v>
                </c:pt>
                <c:pt idx="132">
                  <c:v>49141637.5</c:v>
                </c:pt>
                <c:pt idx="133">
                  <c:v>48931548.166666672</c:v>
                </c:pt>
                <c:pt idx="134">
                  <c:v>48750721.33333333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F6DC-40B0-A604-4A9C932C9C9D}"/>
            </c:ext>
          </c:extLst>
        </c:ser>
        <c:ser>
          <c:idx val="2"/>
          <c:order val="2"/>
          <c:tx>
            <c:strRef>
              <c:f>'overall UZA ridership'!$A$22</c:f>
              <c:strCache>
                <c:ptCount val="1"/>
                <c:pt idx="0">
                  <c:v>Los Angeles</c:v>
                </c:pt>
              </c:strCache>
            </c:strRef>
          </c:tx>
          <c:spPr>
            <a:ln w="28575" cap="rnd">
              <a:solidFill>
                <a:srgbClr val="000000">
                  <a:lumMod val="85000"/>
                  <a:lumOff val="15000"/>
                </a:srgbClr>
              </a:solidFill>
              <a:round/>
            </a:ln>
            <a:effectLst/>
          </c:spPr>
          <c:marker>
            <c:symbol val="none"/>
          </c:marker>
          <c:cat>
            <c:strRef>
              <c:f>'overall UZA ridership'!$B$1:$EF$1</c:f>
              <c:strCache>
                <c:ptCount val="135"/>
                <c:pt idx="0">
                  <c:v>JAN07</c:v>
                </c:pt>
                <c:pt idx="1">
                  <c:v>FEB07</c:v>
                </c:pt>
                <c:pt idx="2">
                  <c:v>MAR07</c:v>
                </c:pt>
                <c:pt idx="3">
                  <c:v>APR07</c:v>
                </c:pt>
                <c:pt idx="4">
                  <c:v>MAY07</c:v>
                </c:pt>
                <c:pt idx="5">
                  <c:v>JUN07</c:v>
                </c:pt>
                <c:pt idx="6">
                  <c:v>JUL07</c:v>
                </c:pt>
                <c:pt idx="7">
                  <c:v>AUG07</c:v>
                </c:pt>
                <c:pt idx="8">
                  <c:v>SEP07</c:v>
                </c:pt>
                <c:pt idx="9">
                  <c:v>OCT07</c:v>
                </c:pt>
                <c:pt idx="10">
                  <c:v>NOV07</c:v>
                </c:pt>
                <c:pt idx="11">
                  <c:v>DEC07</c:v>
                </c:pt>
                <c:pt idx="12">
                  <c:v>JAN08</c:v>
                </c:pt>
                <c:pt idx="13">
                  <c:v>FEB08</c:v>
                </c:pt>
                <c:pt idx="14">
                  <c:v>MAR08</c:v>
                </c:pt>
                <c:pt idx="15">
                  <c:v>APR08</c:v>
                </c:pt>
                <c:pt idx="16">
                  <c:v>MAY08</c:v>
                </c:pt>
                <c:pt idx="17">
                  <c:v>JUN08</c:v>
                </c:pt>
                <c:pt idx="18">
                  <c:v>JUL08</c:v>
                </c:pt>
                <c:pt idx="19">
                  <c:v>AUG08</c:v>
                </c:pt>
                <c:pt idx="20">
                  <c:v>SEP08</c:v>
                </c:pt>
                <c:pt idx="21">
                  <c:v>OCT08</c:v>
                </c:pt>
                <c:pt idx="22">
                  <c:v>NOV08</c:v>
                </c:pt>
                <c:pt idx="23">
                  <c:v>DEC08</c:v>
                </c:pt>
                <c:pt idx="24">
                  <c:v>JAN09</c:v>
                </c:pt>
                <c:pt idx="25">
                  <c:v>FEB09</c:v>
                </c:pt>
                <c:pt idx="26">
                  <c:v>MAR09</c:v>
                </c:pt>
                <c:pt idx="27">
                  <c:v>APR09</c:v>
                </c:pt>
                <c:pt idx="28">
                  <c:v>MAY09</c:v>
                </c:pt>
                <c:pt idx="29">
                  <c:v>JUN09</c:v>
                </c:pt>
                <c:pt idx="30">
                  <c:v>JUL09</c:v>
                </c:pt>
                <c:pt idx="31">
                  <c:v>AUG09</c:v>
                </c:pt>
                <c:pt idx="32">
                  <c:v>SEP09</c:v>
                </c:pt>
                <c:pt idx="33">
                  <c:v>OCT09</c:v>
                </c:pt>
                <c:pt idx="34">
                  <c:v>NOV09</c:v>
                </c:pt>
                <c:pt idx="35">
                  <c:v>DEC09</c:v>
                </c:pt>
                <c:pt idx="36">
                  <c:v>JAN10</c:v>
                </c:pt>
                <c:pt idx="37">
                  <c:v>FEB10</c:v>
                </c:pt>
                <c:pt idx="38">
                  <c:v>MAR10</c:v>
                </c:pt>
                <c:pt idx="39">
                  <c:v>APR10</c:v>
                </c:pt>
                <c:pt idx="40">
                  <c:v>MAY10</c:v>
                </c:pt>
                <c:pt idx="41">
                  <c:v>JUN10</c:v>
                </c:pt>
                <c:pt idx="42">
                  <c:v>JUL10</c:v>
                </c:pt>
                <c:pt idx="43">
                  <c:v>AUG10</c:v>
                </c:pt>
                <c:pt idx="44">
                  <c:v>SEP10</c:v>
                </c:pt>
                <c:pt idx="45">
                  <c:v>OCT10</c:v>
                </c:pt>
                <c:pt idx="46">
                  <c:v>NOV10</c:v>
                </c:pt>
                <c:pt idx="47">
                  <c:v>DEC10</c:v>
                </c:pt>
                <c:pt idx="48">
                  <c:v>JAN11</c:v>
                </c:pt>
                <c:pt idx="49">
                  <c:v>FEB11</c:v>
                </c:pt>
                <c:pt idx="50">
                  <c:v>MAR11</c:v>
                </c:pt>
                <c:pt idx="51">
                  <c:v>APR11</c:v>
                </c:pt>
                <c:pt idx="52">
                  <c:v>MAY11</c:v>
                </c:pt>
                <c:pt idx="53">
                  <c:v>JUN11</c:v>
                </c:pt>
                <c:pt idx="54">
                  <c:v>JUL11</c:v>
                </c:pt>
                <c:pt idx="55">
                  <c:v>AUG11</c:v>
                </c:pt>
                <c:pt idx="56">
                  <c:v>SEP11</c:v>
                </c:pt>
                <c:pt idx="57">
                  <c:v>OCT11</c:v>
                </c:pt>
                <c:pt idx="58">
                  <c:v>NOV11</c:v>
                </c:pt>
                <c:pt idx="59">
                  <c:v>DEC11</c:v>
                </c:pt>
                <c:pt idx="60">
                  <c:v>JAN12</c:v>
                </c:pt>
                <c:pt idx="61">
                  <c:v>FEB12</c:v>
                </c:pt>
                <c:pt idx="62">
                  <c:v>MAR12</c:v>
                </c:pt>
                <c:pt idx="63">
                  <c:v>APR12</c:v>
                </c:pt>
                <c:pt idx="64">
                  <c:v>MAY12</c:v>
                </c:pt>
                <c:pt idx="65">
                  <c:v>JUN12</c:v>
                </c:pt>
                <c:pt idx="66">
                  <c:v>JUL12</c:v>
                </c:pt>
                <c:pt idx="67">
                  <c:v>AUG12</c:v>
                </c:pt>
                <c:pt idx="68">
                  <c:v>SEP12</c:v>
                </c:pt>
                <c:pt idx="69">
                  <c:v>OCT12</c:v>
                </c:pt>
                <c:pt idx="70">
                  <c:v>NOV12</c:v>
                </c:pt>
                <c:pt idx="71">
                  <c:v>DEC12</c:v>
                </c:pt>
                <c:pt idx="72">
                  <c:v>JAN13</c:v>
                </c:pt>
                <c:pt idx="73">
                  <c:v>FEB13</c:v>
                </c:pt>
                <c:pt idx="74">
                  <c:v>MAR13</c:v>
                </c:pt>
                <c:pt idx="75">
                  <c:v>APR13</c:v>
                </c:pt>
                <c:pt idx="76">
                  <c:v>MAY13</c:v>
                </c:pt>
                <c:pt idx="77">
                  <c:v>JUN13</c:v>
                </c:pt>
                <c:pt idx="78">
                  <c:v>JUL13</c:v>
                </c:pt>
                <c:pt idx="79">
                  <c:v>AUG13</c:v>
                </c:pt>
                <c:pt idx="80">
                  <c:v>SEP13</c:v>
                </c:pt>
                <c:pt idx="81">
                  <c:v>OCT13</c:v>
                </c:pt>
                <c:pt idx="82">
                  <c:v>NOV13</c:v>
                </c:pt>
                <c:pt idx="83">
                  <c:v>DEC13</c:v>
                </c:pt>
                <c:pt idx="84">
                  <c:v>JAN14</c:v>
                </c:pt>
                <c:pt idx="85">
                  <c:v>FEB14</c:v>
                </c:pt>
                <c:pt idx="86">
                  <c:v>MAR14</c:v>
                </c:pt>
                <c:pt idx="87">
                  <c:v>APR14</c:v>
                </c:pt>
                <c:pt idx="88">
                  <c:v>MAY14</c:v>
                </c:pt>
                <c:pt idx="89">
                  <c:v>JUN14</c:v>
                </c:pt>
                <c:pt idx="90">
                  <c:v>JUL14</c:v>
                </c:pt>
                <c:pt idx="91">
                  <c:v>AUG14</c:v>
                </c:pt>
                <c:pt idx="92">
                  <c:v>SEP14</c:v>
                </c:pt>
                <c:pt idx="93">
                  <c:v>OCT14</c:v>
                </c:pt>
                <c:pt idx="94">
                  <c:v>NOV14</c:v>
                </c:pt>
                <c:pt idx="95">
                  <c:v>DEC14</c:v>
                </c:pt>
                <c:pt idx="96">
                  <c:v>JAN15</c:v>
                </c:pt>
                <c:pt idx="97">
                  <c:v>FEB15</c:v>
                </c:pt>
                <c:pt idx="98">
                  <c:v>MAR15</c:v>
                </c:pt>
                <c:pt idx="99">
                  <c:v>APR15</c:v>
                </c:pt>
                <c:pt idx="100">
                  <c:v>MAY15</c:v>
                </c:pt>
                <c:pt idx="101">
                  <c:v>JUN15</c:v>
                </c:pt>
                <c:pt idx="102">
                  <c:v>JUL15</c:v>
                </c:pt>
                <c:pt idx="103">
                  <c:v>AUG15</c:v>
                </c:pt>
                <c:pt idx="104">
                  <c:v>SEP15</c:v>
                </c:pt>
                <c:pt idx="105">
                  <c:v>OCT15</c:v>
                </c:pt>
                <c:pt idx="106">
                  <c:v>NOV15</c:v>
                </c:pt>
                <c:pt idx="107">
                  <c:v>DEC15</c:v>
                </c:pt>
                <c:pt idx="108">
                  <c:v>JAN16</c:v>
                </c:pt>
                <c:pt idx="109">
                  <c:v>FEB16</c:v>
                </c:pt>
                <c:pt idx="110">
                  <c:v>MAR16</c:v>
                </c:pt>
                <c:pt idx="111">
                  <c:v>APR16</c:v>
                </c:pt>
                <c:pt idx="112">
                  <c:v>MAY16</c:v>
                </c:pt>
                <c:pt idx="113">
                  <c:v>JUN16</c:v>
                </c:pt>
                <c:pt idx="114">
                  <c:v>JUL16</c:v>
                </c:pt>
                <c:pt idx="115">
                  <c:v>AUG16</c:v>
                </c:pt>
                <c:pt idx="116">
                  <c:v>SEP16</c:v>
                </c:pt>
                <c:pt idx="117">
                  <c:v>OCT16</c:v>
                </c:pt>
                <c:pt idx="118">
                  <c:v>NOV16</c:v>
                </c:pt>
                <c:pt idx="119">
                  <c:v>DEC16</c:v>
                </c:pt>
                <c:pt idx="120">
                  <c:v>JAN17</c:v>
                </c:pt>
                <c:pt idx="121">
                  <c:v>FEB17</c:v>
                </c:pt>
                <c:pt idx="122">
                  <c:v>MAR17</c:v>
                </c:pt>
                <c:pt idx="123">
                  <c:v>APR17</c:v>
                </c:pt>
                <c:pt idx="124">
                  <c:v>MAY17</c:v>
                </c:pt>
                <c:pt idx="125">
                  <c:v>JUN17</c:v>
                </c:pt>
                <c:pt idx="126">
                  <c:v>JUL17</c:v>
                </c:pt>
                <c:pt idx="127">
                  <c:v>AUG17</c:v>
                </c:pt>
                <c:pt idx="128">
                  <c:v>SEP17</c:v>
                </c:pt>
                <c:pt idx="129">
                  <c:v>OCT17</c:v>
                </c:pt>
                <c:pt idx="130">
                  <c:v>NOV17</c:v>
                </c:pt>
                <c:pt idx="131">
                  <c:v>DEC17</c:v>
                </c:pt>
                <c:pt idx="132">
                  <c:v>JAN18</c:v>
                </c:pt>
                <c:pt idx="133">
                  <c:v>FEB18</c:v>
                </c:pt>
                <c:pt idx="134">
                  <c:v>MAR18</c:v>
                </c:pt>
              </c:strCache>
            </c:strRef>
          </c:cat>
          <c:val>
            <c:numRef>
              <c:f>'overall UZA ridership'!$B$22:$EF$22</c:f>
              <c:numCache>
                <c:formatCode>General</c:formatCode>
                <c:ptCount val="135"/>
                <c:pt idx="0">
                  <c:v>58901141.25</c:v>
                </c:pt>
                <c:pt idx="1">
                  <c:v>58991444.583333336</c:v>
                </c:pt>
                <c:pt idx="2">
                  <c:v>59131425.333333336</c:v>
                </c:pt>
                <c:pt idx="3">
                  <c:v>59395127.583333336</c:v>
                </c:pt>
                <c:pt idx="4">
                  <c:v>59345455.583333336</c:v>
                </c:pt>
                <c:pt idx="5">
                  <c:v>59328263.75</c:v>
                </c:pt>
                <c:pt idx="6">
                  <c:v>59104696.75</c:v>
                </c:pt>
                <c:pt idx="7">
                  <c:v>58908185.5</c:v>
                </c:pt>
                <c:pt idx="8">
                  <c:v>58598549.583333336</c:v>
                </c:pt>
                <c:pt idx="9">
                  <c:v>58504191.666666672</c:v>
                </c:pt>
                <c:pt idx="10">
                  <c:v>58339650.416666664</c:v>
                </c:pt>
                <c:pt idx="11">
                  <c:v>58118846.416666664</c:v>
                </c:pt>
                <c:pt idx="12">
                  <c:v>57853815.083333336</c:v>
                </c:pt>
                <c:pt idx="13">
                  <c:v>57880083.25</c:v>
                </c:pt>
                <c:pt idx="14">
                  <c:v>57556500.666666672</c:v>
                </c:pt>
                <c:pt idx="15">
                  <c:v>57633917.916666664</c:v>
                </c:pt>
                <c:pt idx="16">
                  <c:v>57588088.666666672</c:v>
                </c:pt>
                <c:pt idx="17">
                  <c:v>57624678.083333336</c:v>
                </c:pt>
                <c:pt idx="18">
                  <c:v>58311661.083333336</c:v>
                </c:pt>
                <c:pt idx="19">
                  <c:v>58518435.25</c:v>
                </c:pt>
                <c:pt idx="20">
                  <c:v>59036232.833333336</c:v>
                </c:pt>
                <c:pt idx="21">
                  <c:v>59318068.75</c:v>
                </c:pt>
                <c:pt idx="22">
                  <c:v>59323489.5</c:v>
                </c:pt>
                <c:pt idx="23">
                  <c:v>59435822.416666664</c:v>
                </c:pt>
                <c:pt idx="24">
                  <c:v>59456771.083333336</c:v>
                </c:pt>
                <c:pt idx="25">
                  <c:v>59227874.75</c:v>
                </c:pt>
                <c:pt idx="26">
                  <c:v>59282041.833333336</c:v>
                </c:pt>
                <c:pt idx="27">
                  <c:v>59115484</c:v>
                </c:pt>
                <c:pt idx="28">
                  <c:v>58808682.916666664</c:v>
                </c:pt>
                <c:pt idx="29">
                  <c:v>58446913</c:v>
                </c:pt>
                <c:pt idx="30">
                  <c:v>57911691.666666672</c:v>
                </c:pt>
                <c:pt idx="31">
                  <c:v>57425119</c:v>
                </c:pt>
                <c:pt idx="32">
                  <c:v>56983511.833333336</c:v>
                </c:pt>
                <c:pt idx="33">
                  <c:v>56479538.666666672</c:v>
                </c:pt>
                <c:pt idx="34">
                  <c:v>56235005.583333336</c:v>
                </c:pt>
                <c:pt idx="35">
                  <c:v>56067870.166666672</c:v>
                </c:pt>
                <c:pt idx="36">
                  <c:v>55697175.416666664</c:v>
                </c:pt>
                <c:pt idx="37">
                  <c:v>55578232.083333336</c:v>
                </c:pt>
                <c:pt idx="38">
                  <c:v>55580711.75</c:v>
                </c:pt>
                <c:pt idx="39">
                  <c:v>55484941.75</c:v>
                </c:pt>
                <c:pt idx="40">
                  <c:v>55439112.75</c:v>
                </c:pt>
                <c:pt idx="41">
                  <c:v>55487365.416666664</c:v>
                </c:pt>
                <c:pt idx="42">
                  <c:v>55363859.75</c:v>
                </c:pt>
                <c:pt idx="43">
                  <c:v>55427113.25</c:v>
                </c:pt>
                <c:pt idx="44">
                  <c:v>55380709.416666664</c:v>
                </c:pt>
                <c:pt idx="45">
                  <c:v>55218083.916666664</c:v>
                </c:pt>
                <c:pt idx="46">
                  <c:v>55230531.416666664</c:v>
                </c:pt>
                <c:pt idx="47">
                  <c:v>55095806.083333336</c:v>
                </c:pt>
                <c:pt idx="48">
                  <c:v>55272389.25</c:v>
                </c:pt>
                <c:pt idx="49">
                  <c:v>55317426.916666664</c:v>
                </c:pt>
                <c:pt idx="50">
                  <c:v>55185205.916666664</c:v>
                </c:pt>
                <c:pt idx="51">
                  <c:v>55133487.75</c:v>
                </c:pt>
                <c:pt idx="52">
                  <c:v>55148611.666666672</c:v>
                </c:pt>
                <c:pt idx="53">
                  <c:v>55086966.25</c:v>
                </c:pt>
                <c:pt idx="54">
                  <c:v>55015235.5</c:v>
                </c:pt>
                <c:pt idx="55">
                  <c:v>55093817.333333336</c:v>
                </c:pt>
                <c:pt idx="56">
                  <c:v>55184319.666666672</c:v>
                </c:pt>
                <c:pt idx="57">
                  <c:v>55274837.833333336</c:v>
                </c:pt>
                <c:pt idx="58">
                  <c:v>55280880.583333336</c:v>
                </c:pt>
                <c:pt idx="59">
                  <c:v>55425997.166666672</c:v>
                </c:pt>
                <c:pt idx="60">
                  <c:v>55474282.916666664</c:v>
                </c:pt>
                <c:pt idx="61">
                  <c:v>55731458.416666664</c:v>
                </c:pt>
                <c:pt idx="62">
                  <c:v>55738941.583333336</c:v>
                </c:pt>
                <c:pt idx="63">
                  <c:v>55663263.083333336</c:v>
                </c:pt>
                <c:pt idx="64">
                  <c:v>55855727.166666672</c:v>
                </c:pt>
                <c:pt idx="65">
                  <c:v>55849222.333333336</c:v>
                </c:pt>
                <c:pt idx="66">
                  <c:v>55897693.5</c:v>
                </c:pt>
                <c:pt idx="67">
                  <c:v>56047514.833333336</c:v>
                </c:pt>
                <c:pt idx="68">
                  <c:v>55991085.833333336</c:v>
                </c:pt>
                <c:pt idx="69">
                  <c:v>56414645.083333336</c:v>
                </c:pt>
                <c:pt idx="70">
                  <c:v>56618709.333333336</c:v>
                </c:pt>
                <c:pt idx="71">
                  <c:v>56661033.25</c:v>
                </c:pt>
                <c:pt idx="72">
                  <c:v>56808071.666666672</c:v>
                </c:pt>
                <c:pt idx="73">
                  <c:v>56761177.166666672</c:v>
                </c:pt>
                <c:pt idx="74">
                  <c:v>56761481.25</c:v>
                </c:pt>
                <c:pt idx="75">
                  <c:v>57001666.333333336</c:v>
                </c:pt>
                <c:pt idx="76">
                  <c:v>57007420.416666664</c:v>
                </c:pt>
                <c:pt idx="77">
                  <c:v>56793950.833333336</c:v>
                </c:pt>
                <c:pt idx="78">
                  <c:v>56927082.416666664</c:v>
                </c:pt>
                <c:pt idx="79">
                  <c:v>56904727.416666664</c:v>
                </c:pt>
                <c:pt idx="80">
                  <c:v>56973348.5</c:v>
                </c:pt>
                <c:pt idx="81">
                  <c:v>56962170</c:v>
                </c:pt>
                <c:pt idx="82">
                  <c:v>56926875.833333336</c:v>
                </c:pt>
                <c:pt idx="83">
                  <c:v>57062690.75</c:v>
                </c:pt>
                <c:pt idx="84">
                  <c:v>57170063.083333336</c:v>
                </c:pt>
                <c:pt idx="85">
                  <c:v>57091834</c:v>
                </c:pt>
                <c:pt idx="86">
                  <c:v>57078575.75</c:v>
                </c:pt>
                <c:pt idx="87">
                  <c:v>57000792</c:v>
                </c:pt>
                <c:pt idx="88">
                  <c:v>56907850.583333336</c:v>
                </c:pt>
                <c:pt idx="89">
                  <c:v>56857028.333333336</c:v>
                </c:pt>
                <c:pt idx="90">
                  <c:v>56743110.25</c:v>
                </c:pt>
                <c:pt idx="91">
                  <c:v>56501865.666666672</c:v>
                </c:pt>
                <c:pt idx="92">
                  <c:v>56434227.416666664</c:v>
                </c:pt>
                <c:pt idx="93">
                  <c:v>56237888.75</c:v>
                </c:pt>
                <c:pt idx="94">
                  <c:v>55998807.083333336</c:v>
                </c:pt>
                <c:pt idx="95">
                  <c:v>55883128.916666664</c:v>
                </c:pt>
                <c:pt idx="96">
                  <c:v>55620589.416666664</c:v>
                </c:pt>
                <c:pt idx="97">
                  <c:v>55508614.083333336</c:v>
                </c:pt>
                <c:pt idx="98">
                  <c:v>55386151.333333336</c:v>
                </c:pt>
                <c:pt idx="99">
                  <c:v>55148089.416666664</c:v>
                </c:pt>
                <c:pt idx="100">
                  <c:v>54753810.25</c:v>
                </c:pt>
                <c:pt idx="101">
                  <c:v>54683670.666666672</c:v>
                </c:pt>
                <c:pt idx="102">
                  <c:v>54398982.75</c:v>
                </c:pt>
                <c:pt idx="103">
                  <c:v>54097858</c:v>
                </c:pt>
                <c:pt idx="104">
                  <c:v>53776104.916666664</c:v>
                </c:pt>
                <c:pt idx="105">
                  <c:v>53370049.583333336</c:v>
                </c:pt>
                <c:pt idx="106">
                  <c:v>53093660.166666672</c:v>
                </c:pt>
                <c:pt idx="107">
                  <c:v>52768246.583333336</c:v>
                </c:pt>
                <c:pt idx="108">
                  <c:v>52250643.916666664</c:v>
                </c:pt>
                <c:pt idx="109">
                  <c:v>52067208.916666664</c:v>
                </c:pt>
                <c:pt idx="110">
                  <c:v>51716828.416666664</c:v>
                </c:pt>
                <c:pt idx="111">
                  <c:v>51349261.25</c:v>
                </c:pt>
                <c:pt idx="112">
                  <c:v>51087687.666666672</c:v>
                </c:pt>
                <c:pt idx="113">
                  <c:v>50811052.5</c:v>
                </c:pt>
                <c:pt idx="114">
                  <c:v>50392245.666666672</c:v>
                </c:pt>
                <c:pt idx="115">
                  <c:v>50259731.333333336</c:v>
                </c:pt>
                <c:pt idx="116">
                  <c:v>49990383.416666664</c:v>
                </c:pt>
                <c:pt idx="117">
                  <c:v>49559819.333333336</c:v>
                </c:pt>
                <c:pt idx="118">
                  <c:v>49390104.833333336</c:v>
                </c:pt>
                <c:pt idx="119">
                  <c:v>49074176.166666672</c:v>
                </c:pt>
                <c:pt idx="120">
                  <c:v>48823985.583333336</c:v>
                </c:pt>
                <c:pt idx="121">
                  <c:v>48284969.916666664</c:v>
                </c:pt>
                <c:pt idx="122">
                  <c:v>48108437.083333336</c:v>
                </c:pt>
                <c:pt idx="123">
                  <c:v>47783099.5</c:v>
                </c:pt>
                <c:pt idx="124">
                  <c:v>47664379.416666664</c:v>
                </c:pt>
                <c:pt idx="125">
                  <c:v>47440352.916666664</c:v>
                </c:pt>
                <c:pt idx="126">
                  <c:v>47216255.916666664</c:v>
                </c:pt>
                <c:pt idx="127">
                  <c:v>47021350.5</c:v>
                </c:pt>
                <c:pt idx="128">
                  <c:v>46788673.083333336</c:v>
                </c:pt>
                <c:pt idx="129">
                  <c:v>46746993.166666672</c:v>
                </c:pt>
                <c:pt idx="130">
                  <c:v>46631746.916666664</c:v>
                </c:pt>
                <c:pt idx="131">
                  <c:v>46484922.25</c:v>
                </c:pt>
                <c:pt idx="132">
                  <c:v>46540147.5</c:v>
                </c:pt>
                <c:pt idx="133">
                  <c:v>46544548.083333336</c:v>
                </c:pt>
                <c:pt idx="134">
                  <c:v>46141292.33333333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F6DC-40B0-A604-4A9C932C9C9D}"/>
            </c:ext>
          </c:extLst>
        </c:ser>
        <c:ser>
          <c:idx val="3"/>
          <c:order val="3"/>
          <c:tx>
            <c:strRef>
              <c:f>'overall UZA ridership'!$A$23</c:f>
              <c:strCache>
                <c:ptCount val="1"/>
                <c:pt idx="0">
                  <c:v>Philadelphia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'overall UZA ridership'!$B$1:$EF$1</c:f>
              <c:strCache>
                <c:ptCount val="135"/>
                <c:pt idx="0">
                  <c:v>JAN07</c:v>
                </c:pt>
                <c:pt idx="1">
                  <c:v>FEB07</c:v>
                </c:pt>
                <c:pt idx="2">
                  <c:v>MAR07</c:v>
                </c:pt>
                <c:pt idx="3">
                  <c:v>APR07</c:v>
                </c:pt>
                <c:pt idx="4">
                  <c:v>MAY07</c:v>
                </c:pt>
                <c:pt idx="5">
                  <c:v>JUN07</c:v>
                </c:pt>
                <c:pt idx="6">
                  <c:v>JUL07</c:v>
                </c:pt>
                <c:pt idx="7">
                  <c:v>AUG07</c:v>
                </c:pt>
                <c:pt idx="8">
                  <c:v>SEP07</c:v>
                </c:pt>
                <c:pt idx="9">
                  <c:v>OCT07</c:v>
                </c:pt>
                <c:pt idx="10">
                  <c:v>NOV07</c:v>
                </c:pt>
                <c:pt idx="11">
                  <c:v>DEC07</c:v>
                </c:pt>
                <c:pt idx="12">
                  <c:v>JAN08</c:v>
                </c:pt>
                <c:pt idx="13">
                  <c:v>FEB08</c:v>
                </c:pt>
                <c:pt idx="14">
                  <c:v>MAR08</c:v>
                </c:pt>
                <c:pt idx="15">
                  <c:v>APR08</c:v>
                </c:pt>
                <c:pt idx="16">
                  <c:v>MAY08</c:v>
                </c:pt>
                <c:pt idx="17">
                  <c:v>JUN08</c:v>
                </c:pt>
                <c:pt idx="18">
                  <c:v>JUL08</c:v>
                </c:pt>
                <c:pt idx="19">
                  <c:v>AUG08</c:v>
                </c:pt>
                <c:pt idx="20">
                  <c:v>SEP08</c:v>
                </c:pt>
                <c:pt idx="21">
                  <c:v>OCT08</c:v>
                </c:pt>
                <c:pt idx="22">
                  <c:v>NOV08</c:v>
                </c:pt>
                <c:pt idx="23">
                  <c:v>DEC08</c:v>
                </c:pt>
                <c:pt idx="24">
                  <c:v>JAN09</c:v>
                </c:pt>
                <c:pt idx="25">
                  <c:v>FEB09</c:v>
                </c:pt>
                <c:pt idx="26">
                  <c:v>MAR09</c:v>
                </c:pt>
                <c:pt idx="27">
                  <c:v>APR09</c:v>
                </c:pt>
                <c:pt idx="28">
                  <c:v>MAY09</c:v>
                </c:pt>
                <c:pt idx="29">
                  <c:v>JUN09</c:v>
                </c:pt>
                <c:pt idx="30">
                  <c:v>JUL09</c:v>
                </c:pt>
                <c:pt idx="31">
                  <c:v>AUG09</c:v>
                </c:pt>
                <c:pt idx="32">
                  <c:v>SEP09</c:v>
                </c:pt>
                <c:pt idx="33">
                  <c:v>OCT09</c:v>
                </c:pt>
                <c:pt idx="34">
                  <c:v>NOV09</c:v>
                </c:pt>
                <c:pt idx="35">
                  <c:v>DEC09</c:v>
                </c:pt>
                <c:pt idx="36">
                  <c:v>JAN10</c:v>
                </c:pt>
                <c:pt idx="37">
                  <c:v>FEB10</c:v>
                </c:pt>
                <c:pt idx="38">
                  <c:v>MAR10</c:v>
                </c:pt>
                <c:pt idx="39">
                  <c:v>APR10</c:v>
                </c:pt>
                <c:pt idx="40">
                  <c:v>MAY10</c:v>
                </c:pt>
                <c:pt idx="41">
                  <c:v>JUN10</c:v>
                </c:pt>
                <c:pt idx="42">
                  <c:v>JUL10</c:v>
                </c:pt>
                <c:pt idx="43">
                  <c:v>AUG10</c:v>
                </c:pt>
                <c:pt idx="44">
                  <c:v>SEP10</c:v>
                </c:pt>
                <c:pt idx="45">
                  <c:v>OCT10</c:v>
                </c:pt>
                <c:pt idx="46">
                  <c:v>NOV10</c:v>
                </c:pt>
                <c:pt idx="47">
                  <c:v>DEC10</c:v>
                </c:pt>
                <c:pt idx="48">
                  <c:v>JAN11</c:v>
                </c:pt>
                <c:pt idx="49">
                  <c:v>FEB11</c:v>
                </c:pt>
                <c:pt idx="50">
                  <c:v>MAR11</c:v>
                </c:pt>
                <c:pt idx="51">
                  <c:v>APR11</c:v>
                </c:pt>
                <c:pt idx="52">
                  <c:v>MAY11</c:v>
                </c:pt>
                <c:pt idx="53">
                  <c:v>JUN11</c:v>
                </c:pt>
                <c:pt idx="54">
                  <c:v>JUL11</c:v>
                </c:pt>
                <c:pt idx="55">
                  <c:v>AUG11</c:v>
                </c:pt>
                <c:pt idx="56">
                  <c:v>SEP11</c:v>
                </c:pt>
                <c:pt idx="57">
                  <c:v>OCT11</c:v>
                </c:pt>
                <c:pt idx="58">
                  <c:v>NOV11</c:v>
                </c:pt>
                <c:pt idx="59">
                  <c:v>DEC11</c:v>
                </c:pt>
                <c:pt idx="60">
                  <c:v>JAN12</c:v>
                </c:pt>
                <c:pt idx="61">
                  <c:v>FEB12</c:v>
                </c:pt>
                <c:pt idx="62">
                  <c:v>MAR12</c:v>
                </c:pt>
                <c:pt idx="63">
                  <c:v>APR12</c:v>
                </c:pt>
                <c:pt idx="64">
                  <c:v>MAY12</c:v>
                </c:pt>
                <c:pt idx="65">
                  <c:v>JUN12</c:v>
                </c:pt>
                <c:pt idx="66">
                  <c:v>JUL12</c:v>
                </c:pt>
                <c:pt idx="67">
                  <c:v>AUG12</c:v>
                </c:pt>
                <c:pt idx="68">
                  <c:v>SEP12</c:v>
                </c:pt>
                <c:pt idx="69">
                  <c:v>OCT12</c:v>
                </c:pt>
                <c:pt idx="70">
                  <c:v>NOV12</c:v>
                </c:pt>
                <c:pt idx="71">
                  <c:v>DEC12</c:v>
                </c:pt>
                <c:pt idx="72">
                  <c:v>JAN13</c:v>
                </c:pt>
                <c:pt idx="73">
                  <c:v>FEB13</c:v>
                </c:pt>
                <c:pt idx="74">
                  <c:v>MAR13</c:v>
                </c:pt>
                <c:pt idx="75">
                  <c:v>APR13</c:v>
                </c:pt>
                <c:pt idx="76">
                  <c:v>MAY13</c:v>
                </c:pt>
                <c:pt idx="77">
                  <c:v>JUN13</c:v>
                </c:pt>
                <c:pt idx="78">
                  <c:v>JUL13</c:v>
                </c:pt>
                <c:pt idx="79">
                  <c:v>AUG13</c:v>
                </c:pt>
                <c:pt idx="80">
                  <c:v>SEP13</c:v>
                </c:pt>
                <c:pt idx="81">
                  <c:v>OCT13</c:v>
                </c:pt>
                <c:pt idx="82">
                  <c:v>NOV13</c:v>
                </c:pt>
                <c:pt idx="83">
                  <c:v>DEC13</c:v>
                </c:pt>
                <c:pt idx="84">
                  <c:v>JAN14</c:v>
                </c:pt>
                <c:pt idx="85">
                  <c:v>FEB14</c:v>
                </c:pt>
                <c:pt idx="86">
                  <c:v>MAR14</c:v>
                </c:pt>
                <c:pt idx="87">
                  <c:v>APR14</c:v>
                </c:pt>
                <c:pt idx="88">
                  <c:v>MAY14</c:v>
                </c:pt>
                <c:pt idx="89">
                  <c:v>JUN14</c:v>
                </c:pt>
                <c:pt idx="90">
                  <c:v>JUL14</c:v>
                </c:pt>
                <c:pt idx="91">
                  <c:v>AUG14</c:v>
                </c:pt>
                <c:pt idx="92">
                  <c:v>SEP14</c:v>
                </c:pt>
                <c:pt idx="93">
                  <c:v>OCT14</c:v>
                </c:pt>
                <c:pt idx="94">
                  <c:v>NOV14</c:v>
                </c:pt>
                <c:pt idx="95">
                  <c:v>DEC14</c:v>
                </c:pt>
                <c:pt idx="96">
                  <c:v>JAN15</c:v>
                </c:pt>
                <c:pt idx="97">
                  <c:v>FEB15</c:v>
                </c:pt>
                <c:pt idx="98">
                  <c:v>MAR15</c:v>
                </c:pt>
                <c:pt idx="99">
                  <c:v>APR15</c:v>
                </c:pt>
                <c:pt idx="100">
                  <c:v>MAY15</c:v>
                </c:pt>
                <c:pt idx="101">
                  <c:v>JUN15</c:v>
                </c:pt>
                <c:pt idx="102">
                  <c:v>JUL15</c:v>
                </c:pt>
                <c:pt idx="103">
                  <c:v>AUG15</c:v>
                </c:pt>
                <c:pt idx="104">
                  <c:v>SEP15</c:v>
                </c:pt>
                <c:pt idx="105">
                  <c:v>OCT15</c:v>
                </c:pt>
                <c:pt idx="106">
                  <c:v>NOV15</c:v>
                </c:pt>
                <c:pt idx="107">
                  <c:v>DEC15</c:v>
                </c:pt>
                <c:pt idx="108">
                  <c:v>JAN16</c:v>
                </c:pt>
                <c:pt idx="109">
                  <c:v>FEB16</c:v>
                </c:pt>
                <c:pt idx="110">
                  <c:v>MAR16</c:v>
                </c:pt>
                <c:pt idx="111">
                  <c:v>APR16</c:v>
                </c:pt>
                <c:pt idx="112">
                  <c:v>MAY16</c:v>
                </c:pt>
                <c:pt idx="113">
                  <c:v>JUN16</c:v>
                </c:pt>
                <c:pt idx="114">
                  <c:v>JUL16</c:v>
                </c:pt>
                <c:pt idx="115">
                  <c:v>AUG16</c:v>
                </c:pt>
                <c:pt idx="116">
                  <c:v>SEP16</c:v>
                </c:pt>
                <c:pt idx="117">
                  <c:v>OCT16</c:v>
                </c:pt>
                <c:pt idx="118">
                  <c:v>NOV16</c:v>
                </c:pt>
                <c:pt idx="119">
                  <c:v>DEC16</c:v>
                </c:pt>
                <c:pt idx="120">
                  <c:v>JAN17</c:v>
                </c:pt>
                <c:pt idx="121">
                  <c:v>FEB17</c:v>
                </c:pt>
                <c:pt idx="122">
                  <c:v>MAR17</c:v>
                </c:pt>
                <c:pt idx="123">
                  <c:v>APR17</c:v>
                </c:pt>
                <c:pt idx="124">
                  <c:v>MAY17</c:v>
                </c:pt>
                <c:pt idx="125">
                  <c:v>JUN17</c:v>
                </c:pt>
                <c:pt idx="126">
                  <c:v>JUL17</c:v>
                </c:pt>
                <c:pt idx="127">
                  <c:v>AUG17</c:v>
                </c:pt>
                <c:pt idx="128">
                  <c:v>SEP17</c:v>
                </c:pt>
                <c:pt idx="129">
                  <c:v>OCT17</c:v>
                </c:pt>
                <c:pt idx="130">
                  <c:v>NOV17</c:v>
                </c:pt>
                <c:pt idx="131">
                  <c:v>DEC17</c:v>
                </c:pt>
                <c:pt idx="132">
                  <c:v>JAN18</c:v>
                </c:pt>
                <c:pt idx="133">
                  <c:v>FEB18</c:v>
                </c:pt>
                <c:pt idx="134">
                  <c:v>MAR18</c:v>
                </c:pt>
              </c:strCache>
            </c:strRef>
          </c:cat>
          <c:val>
            <c:numRef>
              <c:f>'overall UZA ridership'!$B$23:$EF$23</c:f>
              <c:numCache>
                <c:formatCode>General</c:formatCode>
                <c:ptCount val="135"/>
                <c:pt idx="0">
                  <c:v>28793359</c:v>
                </c:pt>
                <c:pt idx="1">
                  <c:v>28716725.25</c:v>
                </c:pt>
                <c:pt idx="2">
                  <c:v>28632875.75</c:v>
                </c:pt>
                <c:pt idx="3">
                  <c:v>28589196.583333332</c:v>
                </c:pt>
                <c:pt idx="4">
                  <c:v>28563145.333333336</c:v>
                </c:pt>
                <c:pt idx="5">
                  <c:v>28571220</c:v>
                </c:pt>
                <c:pt idx="6">
                  <c:v>28461364.083333332</c:v>
                </c:pt>
                <c:pt idx="7">
                  <c:v>28479096.333333336</c:v>
                </c:pt>
                <c:pt idx="8">
                  <c:v>28389561.666666668</c:v>
                </c:pt>
                <c:pt idx="9">
                  <c:v>28352672.083333332</c:v>
                </c:pt>
                <c:pt idx="10">
                  <c:v>28355685.833333336</c:v>
                </c:pt>
                <c:pt idx="11">
                  <c:v>28322777.083333332</c:v>
                </c:pt>
                <c:pt idx="12">
                  <c:v>28351211.75</c:v>
                </c:pt>
                <c:pt idx="13">
                  <c:v>28518155.166666668</c:v>
                </c:pt>
                <c:pt idx="14">
                  <c:v>28427849.083333332</c:v>
                </c:pt>
                <c:pt idx="15">
                  <c:v>28554276</c:v>
                </c:pt>
                <c:pt idx="16">
                  <c:v>28583029.166666668</c:v>
                </c:pt>
                <c:pt idx="17">
                  <c:v>28734013.833333336</c:v>
                </c:pt>
                <c:pt idx="18">
                  <c:v>28783289.416666668</c:v>
                </c:pt>
                <c:pt idx="19">
                  <c:v>28876693.916666668</c:v>
                </c:pt>
                <c:pt idx="20">
                  <c:v>29039420.916666668</c:v>
                </c:pt>
                <c:pt idx="21">
                  <c:v>29127004.916666668</c:v>
                </c:pt>
                <c:pt idx="22">
                  <c:v>29157238</c:v>
                </c:pt>
                <c:pt idx="23">
                  <c:v>29223936.833333336</c:v>
                </c:pt>
                <c:pt idx="24">
                  <c:v>29146085.5</c:v>
                </c:pt>
                <c:pt idx="25">
                  <c:v>29205751.25</c:v>
                </c:pt>
                <c:pt idx="26">
                  <c:v>29385365.416666668</c:v>
                </c:pt>
                <c:pt idx="27">
                  <c:v>29268610.5</c:v>
                </c:pt>
                <c:pt idx="28">
                  <c:v>29225421.25</c:v>
                </c:pt>
                <c:pt idx="29">
                  <c:v>29207426.083333332</c:v>
                </c:pt>
                <c:pt idx="30">
                  <c:v>29026313.583333332</c:v>
                </c:pt>
                <c:pt idx="31">
                  <c:v>28917732</c:v>
                </c:pt>
                <c:pt idx="32">
                  <c:v>28832679.75</c:v>
                </c:pt>
                <c:pt idx="33">
                  <c:v>28819067.666666668</c:v>
                </c:pt>
                <c:pt idx="34">
                  <c:v>28409717.583333332</c:v>
                </c:pt>
                <c:pt idx="35">
                  <c:v>28353787.583333332</c:v>
                </c:pt>
                <c:pt idx="36">
                  <c:v>28349402.166666668</c:v>
                </c:pt>
                <c:pt idx="37">
                  <c:v>28054242.833333336</c:v>
                </c:pt>
                <c:pt idx="38">
                  <c:v>28104254.75</c:v>
                </c:pt>
                <c:pt idx="39">
                  <c:v>28227165.166666668</c:v>
                </c:pt>
                <c:pt idx="40">
                  <c:v>28312237.416666668</c:v>
                </c:pt>
                <c:pt idx="41">
                  <c:v>28471593.833333336</c:v>
                </c:pt>
                <c:pt idx="42">
                  <c:v>28397839.5</c:v>
                </c:pt>
                <c:pt idx="43">
                  <c:v>28444466.583333332</c:v>
                </c:pt>
                <c:pt idx="44">
                  <c:v>28463459.833333336</c:v>
                </c:pt>
                <c:pt idx="45">
                  <c:v>28482841.833333336</c:v>
                </c:pt>
                <c:pt idx="46">
                  <c:v>28958305.083333332</c:v>
                </c:pt>
                <c:pt idx="47">
                  <c:v>29439707</c:v>
                </c:pt>
                <c:pt idx="48">
                  <c:v>29737440.5</c:v>
                </c:pt>
                <c:pt idx="49">
                  <c:v>29982235.666666668</c:v>
                </c:pt>
                <c:pt idx="50">
                  <c:v>29796916.333333336</c:v>
                </c:pt>
                <c:pt idx="51">
                  <c:v>29972369.416666668</c:v>
                </c:pt>
                <c:pt idx="52">
                  <c:v>29742182.416666668</c:v>
                </c:pt>
                <c:pt idx="53">
                  <c:v>29654476.916666668</c:v>
                </c:pt>
                <c:pt idx="54">
                  <c:v>30001378</c:v>
                </c:pt>
                <c:pt idx="55">
                  <c:v>29828636.583333332</c:v>
                </c:pt>
                <c:pt idx="56">
                  <c:v>30063291.666666668</c:v>
                </c:pt>
                <c:pt idx="57">
                  <c:v>30348785.75</c:v>
                </c:pt>
                <c:pt idx="58">
                  <c:v>30001026.166666668</c:v>
                </c:pt>
                <c:pt idx="59">
                  <c:v>29875887.166666668</c:v>
                </c:pt>
                <c:pt idx="60">
                  <c:v>29991708.833333336</c:v>
                </c:pt>
                <c:pt idx="61">
                  <c:v>30185425.666666668</c:v>
                </c:pt>
                <c:pt idx="62">
                  <c:v>30120340</c:v>
                </c:pt>
                <c:pt idx="63">
                  <c:v>30086260</c:v>
                </c:pt>
                <c:pt idx="64">
                  <c:v>30104941.333333336</c:v>
                </c:pt>
                <c:pt idx="65">
                  <c:v>30183971</c:v>
                </c:pt>
                <c:pt idx="66">
                  <c:v>30428329.666666668</c:v>
                </c:pt>
                <c:pt idx="67">
                  <c:v>30571237.666666668</c:v>
                </c:pt>
                <c:pt idx="68">
                  <c:v>30659657.333333336</c:v>
                </c:pt>
                <c:pt idx="69">
                  <c:v>30751574.416666668</c:v>
                </c:pt>
                <c:pt idx="70">
                  <c:v>30949324.666666668</c:v>
                </c:pt>
                <c:pt idx="71">
                  <c:v>30954566.25</c:v>
                </c:pt>
                <c:pt idx="72">
                  <c:v>31141520.5</c:v>
                </c:pt>
                <c:pt idx="73">
                  <c:v>31156630.5</c:v>
                </c:pt>
                <c:pt idx="74">
                  <c:v>31197081.083333332</c:v>
                </c:pt>
                <c:pt idx="75">
                  <c:v>31491710.25</c:v>
                </c:pt>
                <c:pt idx="76">
                  <c:v>31689225.166666668</c:v>
                </c:pt>
                <c:pt idx="77">
                  <c:v>31731223.333333336</c:v>
                </c:pt>
                <c:pt idx="78">
                  <c:v>31785400.583333332</c:v>
                </c:pt>
                <c:pt idx="79">
                  <c:v>31721635.416666668</c:v>
                </c:pt>
                <c:pt idx="80">
                  <c:v>31725329.333333336</c:v>
                </c:pt>
                <c:pt idx="81">
                  <c:v>31815526.916666668</c:v>
                </c:pt>
                <c:pt idx="82">
                  <c:v>31647972.333333336</c:v>
                </c:pt>
                <c:pt idx="83">
                  <c:v>31635659.25</c:v>
                </c:pt>
                <c:pt idx="84">
                  <c:v>31463407.666666668</c:v>
                </c:pt>
                <c:pt idx="85">
                  <c:v>31260614.916666668</c:v>
                </c:pt>
                <c:pt idx="86">
                  <c:v>31211272.166666668</c:v>
                </c:pt>
                <c:pt idx="87">
                  <c:v>31071615.083333332</c:v>
                </c:pt>
                <c:pt idx="88">
                  <c:v>30870578.833333336</c:v>
                </c:pt>
                <c:pt idx="89">
                  <c:v>30800658.166666668</c:v>
                </c:pt>
                <c:pt idx="90">
                  <c:v>30730685.083333332</c:v>
                </c:pt>
                <c:pt idx="91">
                  <c:v>30655153.833333336</c:v>
                </c:pt>
                <c:pt idx="92">
                  <c:v>30587692</c:v>
                </c:pt>
                <c:pt idx="93">
                  <c:v>30686821.75</c:v>
                </c:pt>
                <c:pt idx="94">
                  <c:v>30570408.333333336</c:v>
                </c:pt>
                <c:pt idx="95">
                  <c:v>30619794.25</c:v>
                </c:pt>
                <c:pt idx="96">
                  <c:v>30641623.583333332</c:v>
                </c:pt>
                <c:pt idx="97">
                  <c:v>30613651.833333336</c:v>
                </c:pt>
                <c:pt idx="98">
                  <c:v>30571692.166666668</c:v>
                </c:pt>
                <c:pt idx="99">
                  <c:v>30534875.666666668</c:v>
                </c:pt>
                <c:pt idx="100">
                  <c:v>30475378.666666668</c:v>
                </c:pt>
                <c:pt idx="101">
                  <c:v>30506597.75</c:v>
                </c:pt>
                <c:pt idx="102">
                  <c:v>30632427.666666668</c:v>
                </c:pt>
                <c:pt idx="103">
                  <c:v>30696490.333333336</c:v>
                </c:pt>
                <c:pt idx="104">
                  <c:v>30776141.916666668</c:v>
                </c:pt>
                <c:pt idx="105">
                  <c:v>30649424.333333336</c:v>
                </c:pt>
                <c:pt idx="106">
                  <c:v>30821985.25</c:v>
                </c:pt>
                <c:pt idx="107">
                  <c:v>31050040.083333332</c:v>
                </c:pt>
                <c:pt idx="108">
                  <c:v>30953530</c:v>
                </c:pt>
                <c:pt idx="109">
                  <c:v>31122132.833333336</c:v>
                </c:pt>
                <c:pt idx="110">
                  <c:v>31250678.916666668</c:v>
                </c:pt>
                <c:pt idx="111">
                  <c:v>31310556.5</c:v>
                </c:pt>
                <c:pt idx="112">
                  <c:v>31337132</c:v>
                </c:pt>
                <c:pt idx="113">
                  <c:v>31339936.333333336</c:v>
                </c:pt>
                <c:pt idx="114">
                  <c:v>31028820.333333336</c:v>
                </c:pt>
                <c:pt idx="115">
                  <c:v>31045395</c:v>
                </c:pt>
                <c:pt idx="116">
                  <c:v>30997467.916666668</c:v>
                </c:pt>
                <c:pt idx="117">
                  <c:v>30772151.583333332</c:v>
                </c:pt>
                <c:pt idx="118">
                  <c:v>30138308.166666668</c:v>
                </c:pt>
                <c:pt idx="119">
                  <c:v>29778410.166666668</c:v>
                </c:pt>
                <c:pt idx="120">
                  <c:v>29712762.166666668</c:v>
                </c:pt>
                <c:pt idx="121">
                  <c:v>29483827.083333332</c:v>
                </c:pt>
                <c:pt idx="122">
                  <c:v>29316024.333333336</c:v>
                </c:pt>
                <c:pt idx="123">
                  <c:v>28964842.25</c:v>
                </c:pt>
                <c:pt idx="124">
                  <c:v>28848216.416666668</c:v>
                </c:pt>
                <c:pt idx="125">
                  <c:v>28808471.416666668</c:v>
                </c:pt>
                <c:pt idx="126">
                  <c:v>28495662.083333332</c:v>
                </c:pt>
                <c:pt idx="127">
                  <c:v>28198607.083333332</c:v>
                </c:pt>
                <c:pt idx="128">
                  <c:v>27893695.166666668</c:v>
                </c:pt>
                <c:pt idx="129">
                  <c:v>27703147.916666668</c:v>
                </c:pt>
                <c:pt idx="130">
                  <c:v>27948180.833333336</c:v>
                </c:pt>
                <c:pt idx="131">
                  <c:v>27604219.083333332</c:v>
                </c:pt>
                <c:pt idx="132">
                  <c:v>27410729.5</c:v>
                </c:pt>
                <c:pt idx="133">
                  <c:v>27279895.916666668</c:v>
                </c:pt>
                <c:pt idx="134">
                  <c:v>2695152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F6DC-40B0-A604-4A9C932C9C9D}"/>
            </c:ext>
          </c:extLst>
        </c:ser>
        <c:ser>
          <c:idx val="4"/>
          <c:order val="4"/>
          <c:tx>
            <c:strRef>
              <c:f>'overall UZA ridership'!$A$24</c:f>
              <c:strCache>
                <c:ptCount val="1"/>
                <c:pt idx="0">
                  <c:v>Portland, OR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overall UZA ridership'!$B$1:$EF$1</c:f>
              <c:strCache>
                <c:ptCount val="135"/>
                <c:pt idx="0">
                  <c:v>JAN07</c:v>
                </c:pt>
                <c:pt idx="1">
                  <c:v>FEB07</c:v>
                </c:pt>
                <c:pt idx="2">
                  <c:v>MAR07</c:v>
                </c:pt>
                <c:pt idx="3">
                  <c:v>APR07</c:v>
                </c:pt>
                <c:pt idx="4">
                  <c:v>MAY07</c:v>
                </c:pt>
                <c:pt idx="5">
                  <c:v>JUN07</c:v>
                </c:pt>
                <c:pt idx="6">
                  <c:v>JUL07</c:v>
                </c:pt>
                <c:pt idx="7">
                  <c:v>AUG07</c:v>
                </c:pt>
                <c:pt idx="8">
                  <c:v>SEP07</c:v>
                </c:pt>
                <c:pt idx="9">
                  <c:v>OCT07</c:v>
                </c:pt>
                <c:pt idx="10">
                  <c:v>NOV07</c:v>
                </c:pt>
                <c:pt idx="11">
                  <c:v>DEC07</c:v>
                </c:pt>
                <c:pt idx="12">
                  <c:v>JAN08</c:v>
                </c:pt>
                <c:pt idx="13">
                  <c:v>FEB08</c:v>
                </c:pt>
                <c:pt idx="14">
                  <c:v>MAR08</c:v>
                </c:pt>
                <c:pt idx="15">
                  <c:v>APR08</c:v>
                </c:pt>
                <c:pt idx="16">
                  <c:v>MAY08</c:v>
                </c:pt>
                <c:pt idx="17">
                  <c:v>JUN08</c:v>
                </c:pt>
                <c:pt idx="18">
                  <c:v>JUL08</c:v>
                </c:pt>
                <c:pt idx="19">
                  <c:v>AUG08</c:v>
                </c:pt>
                <c:pt idx="20">
                  <c:v>SEP08</c:v>
                </c:pt>
                <c:pt idx="21">
                  <c:v>OCT08</c:v>
                </c:pt>
                <c:pt idx="22">
                  <c:v>NOV08</c:v>
                </c:pt>
                <c:pt idx="23">
                  <c:v>DEC08</c:v>
                </c:pt>
                <c:pt idx="24">
                  <c:v>JAN09</c:v>
                </c:pt>
                <c:pt idx="25">
                  <c:v>FEB09</c:v>
                </c:pt>
                <c:pt idx="26">
                  <c:v>MAR09</c:v>
                </c:pt>
                <c:pt idx="27">
                  <c:v>APR09</c:v>
                </c:pt>
                <c:pt idx="28">
                  <c:v>MAY09</c:v>
                </c:pt>
                <c:pt idx="29">
                  <c:v>JUN09</c:v>
                </c:pt>
                <c:pt idx="30">
                  <c:v>JUL09</c:v>
                </c:pt>
                <c:pt idx="31">
                  <c:v>AUG09</c:v>
                </c:pt>
                <c:pt idx="32">
                  <c:v>SEP09</c:v>
                </c:pt>
                <c:pt idx="33">
                  <c:v>OCT09</c:v>
                </c:pt>
                <c:pt idx="34">
                  <c:v>NOV09</c:v>
                </c:pt>
                <c:pt idx="35">
                  <c:v>DEC09</c:v>
                </c:pt>
                <c:pt idx="36">
                  <c:v>JAN10</c:v>
                </c:pt>
                <c:pt idx="37">
                  <c:v>FEB10</c:v>
                </c:pt>
                <c:pt idx="38">
                  <c:v>MAR10</c:v>
                </c:pt>
                <c:pt idx="39">
                  <c:v>APR10</c:v>
                </c:pt>
                <c:pt idx="40">
                  <c:v>MAY10</c:v>
                </c:pt>
                <c:pt idx="41">
                  <c:v>JUN10</c:v>
                </c:pt>
                <c:pt idx="42">
                  <c:v>JUL10</c:v>
                </c:pt>
                <c:pt idx="43">
                  <c:v>AUG10</c:v>
                </c:pt>
                <c:pt idx="44">
                  <c:v>SEP10</c:v>
                </c:pt>
                <c:pt idx="45">
                  <c:v>OCT10</c:v>
                </c:pt>
                <c:pt idx="46">
                  <c:v>NOV10</c:v>
                </c:pt>
                <c:pt idx="47">
                  <c:v>DEC10</c:v>
                </c:pt>
                <c:pt idx="48">
                  <c:v>JAN11</c:v>
                </c:pt>
                <c:pt idx="49">
                  <c:v>FEB11</c:v>
                </c:pt>
                <c:pt idx="50">
                  <c:v>MAR11</c:v>
                </c:pt>
                <c:pt idx="51">
                  <c:v>APR11</c:v>
                </c:pt>
                <c:pt idx="52">
                  <c:v>MAY11</c:v>
                </c:pt>
                <c:pt idx="53">
                  <c:v>JUN11</c:v>
                </c:pt>
                <c:pt idx="54">
                  <c:v>JUL11</c:v>
                </c:pt>
                <c:pt idx="55">
                  <c:v>AUG11</c:v>
                </c:pt>
                <c:pt idx="56">
                  <c:v>SEP11</c:v>
                </c:pt>
                <c:pt idx="57">
                  <c:v>OCT11</c:v>
                </c:pt>
                <c:pt idx="58">
                  <c:v>NOV11</c:v>
                </c:pt>
                <c:pt idx="59">
                  <c:v>DEC11</c:v>
                </c:pt>
                <c:pt idx="60">
                  <c:v>JAN12</c:v>
                </c:pt>
                <c:pt idx="61">
                  <c:v>FEB12</c:v>
                </c:pt>
                <c:pt idx="62">
                  <c:v>MAR12</c:v>
                </c:pt>
                <c:pt idx="63">
                  <c:v>APR12</c:v>
                </c:pt>
                <c:pt idx="64">
                  <c:v>MAY12</c:v>
                </c:pt>
                <c:pt idx="65">
                  <c:v>JUN12</c:v>
                </c:pt>
                <c:pt idx="66">
                  <c:v>JUL12</c:v>
                </c:pt>
                <c:pt idx="67">
                  <c:v>AUG12</c:v>
                </c:pt>
                <c:pt idx="68">
                  <c:v>SEP12</c:v>
                </c:pt>
                <c:pt idx="69">
                  <c:v>OCT12</c:v>
                </c:pt>
                <c:pt idx="70">
                  <c:v>NOV12</c:v>
                </c:pt>
                <c:pt idx="71">
                  <c:v>DEC12</c:v>
                </c:pt>
                <c:pt idx="72">
                  <c:v>JAN13</c:v>
                </c:pt>
                <c:pt idx="73">
                  <c:v>FEB13</c:v>
                </c:pt>
                <c:pt idx="74">
                  <c:v>MAR13</c:v>
                </c:pt>
                <c:pt idx="75">
                  <c:v>APR13</c:v>
                </c:pt>
                <c:pt idx="76">
                  <c:v>MAY13</c:v>
                </c:pt>
                <c:pt idx="77">
                  <c:v>JUN13</c:v>
                </c:pt>
                <c:pt idx="78">
                  <c:v>JUL13</c:v>
                </c:pt>
                <c:pt idx="79">
                  <c:v>AUG13</c:v>
                </c:pt>
                <c:pt idx="80">
                  <c:v>SEP13</c:v>
                </c:pt>
                <c:pt idx="81">
                  <c:v>OCT13</c:v>
                </c:pt>
                <c:pt idx="82">
                  <c:v>NOV13</c:v>
                </c:pt>
                <c:pt idx="83">
                  <c:v>DEC13</c:v>
                </c:pt>
                <c:pt idx="84">
                  <c:v>JAN14</c:v>
                </c:pt>
                <c:pt idx="85">
                  <c:v>FEB14</c:v>
                </c:pt>
                <c:pt idx="86">
                  <c:v>MAR14</c:v>
                </c:pt>
                <c:pt idx="87">
                  <c:v>APR14</c:v>
                </c:pt>
                <c:pt idx="88">
                  <c:v>MAY14</c:v>
                </c:pt>
                <c:pt idx="89">
                  <c:v>JUN14</c:v>
                </c:pt>
                <c:pt idx="90">
                  <c:v>JUL14</c:v>
                </c:pt>
                <c:pt idx="91">
                  <c:v>AUG14</c:v>
                </c:pt>
                <c:pt idx="92">
                  <c:v>SEP14</c:v>
                </c:pt>
                <c:pt idx="93">
                  <c:v>OCT14</c:v>
                </c:pt>
                <c:pt idx="94">
                  <c:v>NOV14</c:v>
                </c:pt>
                <c:pt idx="95">
                  <c:v>DEC14</c:v>
                </c:pt>
                <c:pt idx="96">
                  <c:v>JAN15</c:v>
                </c:pt>
                <c:pt idx="97">
                  <c:v>FEB15</c:v>
                </c:pt>
                <c:pt idx="98">
                  <c:v>MAR15</c:v>
                </c:pt>
                <c:pt idx="99">
                  <c:v>APR15</c:v>
                </c:pt>
                <c:pt idx="100">
                  <c:v>MAY15</c:v>
                </c:pt>
                <c:pt idx="101">
                  <c:v>JUN15</c:v>
                </c:pt>
                <c:pt idx="102">
                  <c:v>JUL15</c:v>
                </c:pt>
                <c:pt idx="103">
                  <c:v>AUG15</c:v>
                </c:pt>
                <c:pt idx="104">
                  <c:v>SEP15</c:v>
                </c:pt>
                <c:pt idx="105">
                  <c:v>OCT15</c:v>
                </c:pt>
                <c:pt idx="106">
                  <c:v>NOV15</c:v>
                </c:pt>
                <c:pt idx="107">
                  <c:v>DEC15</c:v>
                </c:pt>
                <c:pt idx="108">
                  <c:v>JAN16</c:v>
                </c:pt>
                <c:pt idx="109">
                  <c:v>FEB16</c:v>
                </c:pt>
                <c:pt idx="110">
                  <c:v>MAR16</c:v>
                </c:pt>
                <c:pt idx="111">
                  <c:v>APR16</c:v>
                </c:pt>
                <c:pt idx="112">
                  <c:v>MAY16</c:v>
                </c:pt>
                <c:pt idx="113">
                  <c:v>JUN16</c:v>
                </c:pt>
                <c:pt idx="114">
                  <c:v>JUL16</c:v>
                </c:pt>
                <c:pt idx="115">
                  <c:v>AUG16</c:v>
                </c:pt>
                <c:pt idx="116">
                  <c:v>SEP16</c:v>
                </c:pt>
                <c:pt idx="117">
                  <c:v>OCT16</c:v>
                </c:pt>
                <c:pt idx="118">
                  <c:v>NOV16</c:v>
                </c:pt>
                <c:pt idx="119">
                  <c:v>DEC16</c:v>
                </c:pt>
                <c:pt idx="120">
                  <c:v>JAN17</c:v>
                </c:pt>
                <c:pt idx="121">
                  <c:v>FEB17</c:v>
                </c:pt>
                <c:pt idx="122">
                  <c:v>MAR17</c:v>
                </c:pt>
                <c:pt idx="123">
                  <c:v>APR17</c:v>
                </c:pt>
                <c:pt idx="124">
                  <c:v>MAY17</c:v>
                </c:pt>
                <c:pt idx="125">
                  <c:v>JUN17</c:v>
                </c:pt>
                <c:pt idx="126">
                  <c:v>JUL17</c:v>
                </c:pt>
                <c:pt idx="127">
                  <c:v>AUG17</c:v>
                </c:pt>
                <c:pt idx="128">
                  <c:v>SEP17</c:v>
                </c:pt>
                <c:pt idx="129">
                  <c:v>OCT17</c:v>
                </c:pt>
                <c:pt idx="130">
                  <c:v>NOV17</c:v>
                </c:pt>
                <c:pt idx="131">
                  <c:v>DEC17</c:v>
                </c:pt>
                <c:pt idx="132">
                  <c:v>JAN18</c:v>
                </c:pt>
                <c:pt idx="133">
                  <c:v>FEB18</c:v>
                </c:pt>
                <c:pt idx="134">
                  <c:v>MAR18</c:v>
                </c:pt>
              </c:strCache>
            </c:strRef>
          </c:cat>
          <c:val>
            <c:numRef>
              <c:f>'overall UZA ridership'!$B$24:$EF$24</c:f>
              <c:numCache>
                <c:formatCode>#,##0</c:formatCode>
                <c:ptCount val="135"/>
                <c:pt idx="0">
                  <c:v>8575780.9166666642</c:v>
                </c:pt>
                <c:pt idx="1">
                  <c:v>8600012.9166666642</c:v>
                </c:pt>
                <c:pt idx="2">
                  <c:v>8608620</c:v>
                </c:pt>
                <c:pt idx="3">
                  <c:v>8618886.9166666642</c:v>
                </c:pt>
                <c:pt idx="4">
                  <c:v>8642103.333333334</c:v>
                </c:pt>
                <c:pt idx="5">
                  <c:v>8663685.1666666642</c:v>
                </c:pt>
                <c:pt idx="6">
                  <c:v>8661325.1666666642</c:v>
                </c:pt>
                <c:pt idx="7">
                  <c:v>8680817.833333334</c:v>
                </c:pt>
                <c:pt idx="8">
                  <c:v>8684719.583333334</c:v>
                </c:pt>
                <c:pt idx="9">
                  <c:v>8663470.4166666642</c:v>
                </c:pt>
                <c:pt idx="10">
                  <c:v>8674322.833333334</c:v>
                </c:pt>
                <c:pt idx="11">
                  <c:v>8702482.5</c:v>
                </c:pt>
                <c:pt idx="12">
                  <c:v>8708947.5</c:v>
                </c:pt>
                <c:pt idx="13">
                  <c:v>8727719.25</c:v>
                </c:pt>
                <c:pt idx="14">
                  <c:v>8787810.4166666642</c:v>
                </c:pt>
                <c:pt idx="15">
                  <c:v>8786836.1666666642</c:v>
                </c:pt>
                <c:pt idx="16">
                  <c:v>8835841.583333334</c:v>
                </c:pt>
                <c:pt idx="17">
                  <c:v>8864483.1666666642</c:v>
                </c:pt>
                <c:pt idx="18">
                  <c:v>8906767.4166666642</c:v>
                </c:pt>
                <c:pt idx="19">
                  <c:v>9009750.5</c:v>
                </c:pt>
                <c:pt idx="20">
                  <c:v>9020793.9166666642</c:v>
                </c:pt>
                <c:pt idx="21">
                  <c:v>9112085.9166666642</c:v>
                </c:pt>
                <c:pt idx="22">
                  <c:v>9174547.4166666642</c:v>
                </c:pt>
                <c:pt idx="23">
                  <c:v>9174381.5</c:v>
                </c:pt>
                <c:pt idx="24">
                  <c:v>9225489.75</c:v>
                </c:pt>
                <c:pt idx="25">
                  <c:v>9230621.5</c:v>
                </c:pt>
                <c:pt idx="26">
                  <c:v>9210597.4166666642</c:v>
                </c:pt>
                <c:pt idx="27">
                  <c:v>9215417.9166666642</c:v>
                </c:pt>
                <c:pt idx="28">
                  <c:v>9207531</c:v>
                </c:pt>
                <c:pt idx="29">
                  <c:v>9168051.4166666642</c:v>
                </c:pt>
                <c:pt idx="30">
                  <c:v>9138145.75</c:v>
                </c:pt>
                <c:pt idx="31">
                  <c:v>9073109.833333334</c:v>
                </c:pt>
                <c:pt idx="32">
                  <c:v>9036370.083333334</c:v>
                </c:pt>
                <c:pt idx="33">
                  <c:v>9002230.6666666642</c:v>
                </c:pt>
                <c:pt idx="34">
                  <c:v>8957372.1666666642</c:v>
                </c:pt>
                <c:pt idx="35">
                  <c:v>8952858.25</c:v>
                </c:pt>
                <c:pt idx="36">
                  <c:v>8905598.583333334</c:v>
                </c:pt>
                <c:pt idx="37">
                  <c:v>8923362.1666666642</c:v>
                </c:pt>
                <c:pt idx="38">
                  <c:v>8956441.333333334</c:v>
                </c:pt>
                <c:pt idx="39">
                  <c:v>9020288.4166666642</c:v>
                </c:pt>
                <c:pt idx="40">
                  <c:v>9043116.083333334</c:v>
                </c:pt>
                <c:pt idx="41">
                  <c:v>9059279.1666666642</c:v>
                </c:pt>
                <c:pt idx="42">
                  <c:v>9100691.833333334</c:v>
                </c:pt>
                <c:pt idx="43">
                  <c:v>9128904.4166666642</c:v>
                </c:pt>
                <c:pt idx="44">
                  <c:v>9183836.1666666642</c:v>
                </c:pt>
                <c:pt idx="45">
                  <c:v>9205262.6666666642</c:v>
                </c:pt>
                <c:pt idx="46">
                  <c:v>9215872.5</c:v>
                </c:pt>
                <c:pt idx="47">
                  <c:v>9247940.9166666642</c:v>
                </c:pt>
                <c:pt idx="48">
                  <c:v>9293509.083333334</c:v>
                </c:pt>
                <c:pt idx="49">
                  <c:v>9293915.833333334</c:v>
                </c:pt>
                <c:pt idx="50">
                  <c:v>9279161.5</c:v>
                </c:pt>
                <c:pt idx="51">
                  <c:v>9270312.9166666642</c:v>
                </c:pt>
                <c:pt idx="52">
                  <c:v>9287124.583333334</c:v>
                </c:pt>
                <c:pt idx="53">
                  <c:v>9328241</c:v>
                </c:pt>
                <c:pt idx="54">
                  <c:v>9345461.083333334</c:v>
                </c:pt>
                <c:pt idx="55">
                  <c:v>9346897.5</c:v>
                </c:pt>
                <c:pt idx="56">
                  <c:v>9378284.25</c:v>
                </c:pt>
                <c:pt idx="57">
                  <c:v>9399881.9166666642</c:v>
                </c:pt>
                <c:pt idx="58">
                  <c:v>9419778.75</c:v>
                </c:pt>
                <c:pt idx="59">
                  <c:v>9439986.75</c:v>
                </c:pt>
                <c:pt idx="60">
                  <c:v>9446371.6666666642</c:v>
                </c:pt>
                <c:pt idx="61">
                  <c:v>9455507.9166666642</c:v>
                </c:pt>
                <c:pt idx="62">
                  <c:v>9501150.333333334</c:v>
                </c:pt>
                <c:pt idx="63">
                  <c:v>9499461.833333334</c:v>
                </c:pt>
                <c:pt idx="64">
                  <c:v>9504105.083333334</c:v>
                </c:pt>
                <c:pt idx="65">
                  <c:v>9531259.25</c:v>
                </c:pt>
                <c:pt idx="66">
                  <c:v>9512753.1666666642</c:v>
                </c:pt>
                <c:pt idx="67">
                  <c:v>9515633.75</c:v>
                </c:pt>
                <c:pt idx="68">
                  <c:v>9511311.9166666642</c:v>
                </c:pt>
                <c:pt idx="69">
                  <c:v>9472290.4166666642</c:v>
                </c:pt>
                <c:pt idx="70">
                  <c:v>9492842.75</c:v>
                </c:pt>
                <c:pt idx="71">
                  <c:v>9482859.833333334</c:v>
                </c:pt>
                <c:pt idx="72">
                  <c:v>9447098</c:v>
                </c:pt>
                <c:pt idx="73">
                  <c:v>9435976.083333334</c:v>
                </c:pt>
                <c:pt idx="74">
                  <c:v>9398865</c:v>
                </c:pt>
                <c:pt idx="75">
                  <c:v>9386958.583333334</c:v>
                </c:pt>
                <c:pt idx="76">
                  <c:v>9369169.333333334</c:v>
                </c:pt>
                <c:pt idx="77">
                  <c:v>9337757.25</c:v>
                </c:pt>
                <c:pt idx="78">
                  <c:v>9309251.333333334</c:v>
                </c:pt>
                <c:pt idx="79">
                  <c:v>9299446</c:v>
                </c:pt>
                <c:pt idx="80">
                  <c:v>9272259.25</c:v>
                </c:pt>
                <c:pt idx="81">
                  <c:v>9252842.833333334</c:v>
                </c:pt>
                <c:pt idx="82">
                  <c:v>9249743.083333334</c:v>
                </c:pt>
                <c:pt idx="83">
                  <c:v>9241647</c:v>
                </c:pt>
                <c:pt idx="84">
                  <c:v>9264833.75</c:v>
                </c:pt>
                <c:pt idx="85">
                  <c:v>9296034.333333334</c:v>
                </c:pt>
                <c:pt idx="86">
                  <c:v>9283036.4166666642</c:v>
                </c:pt>
                <c:pt idx="87">
                  <c:v>9284414.6666666642</c:v>
                </c:pt>
                <c:pt idx="88">
                  <c:v>9315856.333333334</c:v>
                </c:pt>
                <c:pt idx="89">
                  <c:v>9343103.9166666642</c:v>
                </c:pt>
                <c:pt idx="90">
                  <c:v>9397579.833333334</c:v>
                </c:pt>
                <c:pt idx="91">
                  <c:v>9434900.6666666642</c:v>
                </c:pt>
                <c:pt idx="92">
                  <c:v>9461885.1666666642</c:v>
                </c:pt>
                <c:pt idx="93">
                  <c:v>9526649.4166666642</c:v>
                </c:pt>
                <c:pt idx="94">
                  <c:v>9545056.75</c:v>
                </c:pt>
                <c:pt idx="95">
                  <c:v>9519482.4166666642</c:v>
                </c:pt>
                <c:pt idx="96">
                  <c:v>9558122.833333334</c:v>
                </c:pt>
                <c:pt idx="97">
                  <c:v>9545381.1666666642</c:v>
                </c:pt>
                <c:pt idx="98">
                  <c:v>9581652</c:v>
                </c:pt>
                <c:pt idx="99">
                  <c:v>9608492.5</c:v>
                </c:pt>
                <c:pt idx="100">
                  <c:v>9606418.9166666642</c:v>
                </c:pt>
                <c:pt idx="101">
                  <c:v>9563960.6666666642</c:v>
                </c:pt>
                <c:pt idx="102">
                  <c:v>9530299.5</c:v>
                </c:pt>
                <c:pt idx="103">
                  <c:v>9508755.25</c:v>
                </c:pt>
                <c:pt idx="104">
                  <c:v>9482044.9166666642</c:v>
                </c:pt>
                <c:pt idx="105">
                  <c:v>9484138.6666666642</c:v>
                </c:pt>
                <c:pt idx="106">
                  <c:v>9463916.6666666642</c:v>
                </c:pt>
                <c:pt idx="107">
                  <c:v>9493952.25</c:v>
                </c:pt>
                <c:pt idx="108">
                  <c:v>9484050</c:v>
                </c:pt>
                <c:pt idx="109">
                  <c:v>9484399.4166666642</c:v>
                </c:pt>
                <c:pt idx="110">
                  <c:v>9513442.6666666642</c:v>
                </c:pt>
                <c:pt idx="111">
                  <c:v>9519894.1666666642</c:v>
                </c:pt>
                <c:pt idx="112">
                  <c:v>9502929.5</c:v>
                </c:pt>
                <c:pt idx="113">
                  <c:v>9497104.5</c:v>
                </c:pt>
                <c:pt idx="114">
                  <c:v>9503086.583333334</c:v>
                </c:pt>
                <c:pt idx="115">
                  <c:v>9485064.25</c:v>
                </c:pt>
                <c:pt idx="116">
                  <c:v>9511958.333333334</c:v>
                </c:pt>
                <c:pt idx="117">
                  <c:v>9489266.4166666642</c:v>
                </c:pt>
                <c:pt idx="118">
                  <c:v>9450249.4166666642</c:v>
                </c:pt>
                <c:pt idx="119">
                  <c:v>9467117.9166666642</c:v>
                </c:pt>
                <c:pt idx="120">
                  <c:v>9443082</c:v>
                </c:pt>
                <c:pt idx="121">
                  <c:v>9441594.25</c:v>
                </c:pt>
                <c:pt idx="122">
                  <c:v>9385692.083333334</c:v>
                </c:pt>
                <c:pt idx="123">
                  <c:v>9385266.083333334</c:v>
                </c:pt>
                <c:pt idx="124">
                  <c:v>9356077.333333334</c:v>
                </c:pt>
                <c:pt idx="125">
                  <c:v>9365130.25</c:v>
                </c:pt>
                <c:pt idx="126">
                  <c:v>9361282.833333334</c:v>
                </c:pt>
                <c:pt idx="127">
                  <c:v>9342621</c:v>
                </c:pt>
                <c:pt idx="128">
                  <c:v>9326986</c:v>
                </c:pt>
                <c:pt idx="129">
                  <c:v>9309648.1666666642</c:v>
                </c:pt>
                <c:pt idx="130">
                  <c:v>9323176.9166666642</c:v>
                </c:pt>
                <c:pt idx="131">
                  <c:v>9305931.75</c:v>
                </c:pt>
                <c:pt idx="132">
                  <c:v>9286303.9166666642</c:v>
                </c:pt>
                <c:pt idx="133">
                  <c:v>9287357.833333334</c:v>
                </c:pt>
                <c:pt idx="134">
                  <c:v>9274225.416666664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F6DC-40B0-A604-4A9C932C9C9D}"/>
            </c:ext>
          </c:extLst>
        </c:ser>
        <c:ser>
          <c:idx val="5"/>
          <c:order val="5"/>
          <c:tx>
            <c:strRef>
              <c:f>'overall UZA ridership'!$A$25</c:f>
              <c:strCache>
                <c:ptCount val="1"/>
                <c:pt idx="0">
                  <c:v>San Francisco</c:v>
                </c:pt>
              </c:strCache>
            </c:strRef>
          </c:tx>
          <c:spPr>
            <a:ln w="28575" cap="rnd">
              <a:solidFill>
                <a:srgbClr val="801402"/>
              </a:solidFill>
              <a:round/>
            </a:ln>
            <a:effectLst/>
          </c:spPr>
          <c:marker>
            <c:symbol val="none"/>
          </c:marker>
          <c:cat>
            <c:strRef>
              <c:f>'overall UZA ridership'!$B$1:$EF$1</c:f>
              <c:strCache>
                <c:ptCount val="135"/>
                <c:pt idx="0">
                  <c:v>JAN07</c:v>
                </c:pt>
                <c:pt idx="1">
                  <c:v>FEB07</c:v>
                </c:pt>
                <c:pt idx="2">
                  <c:v>MAR07</c:v>
                </c:pt>
                <c:pt idx="3">
                  <c:v>APR07</c:v>
                </c:pt>
                <c:pt idx="4">
                  <c:v>MAY07</c:v>
                </c:pt>
                <c:pt idx="5">
                  <c:v>JUN07</c:v>
                </c:pt>
                <c:pt idx="6">
                  <c:v>JUL07</c:v>
                </c:pt>
                <c:pt idx="7">
                  <c:v>AUG07</c:v>
                </c:pt>
                <c:pt idx="8">
                  <c:v>SEP07</c:v>
                </c:pt>
                <c:pt idx="9">
                  <c:v>OCT07</c:v>
                </c:pt>
                <c:pt idx="10">
                  <c:v>NOV07</c:v>
                </c:pt>
                <c:pt idx="11">
                  <c:v>DEC07</c:v>
                </c:pt>
                <c:pt idx="12">
                  <c:v>JAN08</c:v>
                </c:pt>
                <c:pt idx="13">
                  <c:v>FEB08</c:v>
                </c:pt>
                <c:pt idx="14">
                  <c:v>MAR08</c:v>
                </c:pt>
                <c:pt idx="15">
                  <c:v>APR08</c:v>
                </c:pt>
                <c:pt idx="16">
                  <c:v>MAY08</c:v>
                </c:pt>
                <c:pt idx="17">
                  <c:v>JUN08</c:v>
                </c:pt>
                <c:pt idx="18">
                  <c:v>JUL08</c:v>
                </c:pt>
                <c:pt idx="19">
                  <c:v>AUG08</c:v>
                </c:pt>
                <c:pt idx="20">
                  <c:v>SEP08</c:v>
                </c:pt>
                <c:pt idx="21">
                  <c:v>OCT08</c:v>
                </c:pt>
                <c:pt idx="22">
                  <c:v>NOV08</c:v>
                </c:pt>
                <c:pt idx="23">
                  <c:v>DEC08</c:v>
                </c:pt>
                <c:pt idx="24">
                  <c:v>JAN09</c:v>
                </c:pt>
                <c:pt idx="25">
                  <c:v>FEB09</c:v>
                </c:pt>
                <c:pt idx="26">
                  <c:v>MAR09</c:v>
                </c:pt>
                <c:pt idx="27">
                  <c:v>APR09</c:v>
                </c:pt>
                <c:pt idx="28">
                  <c:v>MAY09</c:v>
                </c:pt>
                <c:pt idx="29">
                  <c:v>JUN09</c:v>
                </c:pt>
                <c:pt idx="30">
                  <c:v>JUL09</c:v>
                </c:pt>
                <c:pt idx="31">
                  <c:v>AUG09</c:v>
                </c:pt>
                <c:pt idx="32">
                  <c:v>SEP09</c:v>
                </c:pt>
                <c:pt idx="33">
                  <c:v>OCT09</c:v>
                </c:pt>
                <c:pt idx="34">
                  <c:v>NOV09</c:v>
                </c:pt>
                <c:pt idx="35">
                  <c:v>DEC09</c:v>
                </c:pt>
                <c:pt idx="36">
                  <c:v>JAN10</c:v>
                </c:pt>
                <c:pt idx="37">
                  <c:v>FEB10</c:v>
                </c:pt>
                <c:pt idx="38">
                  <c:v>MAR10</c:v>
                </c:pt>
                <c:pt idx="39">
                  <c:v>APR10</c:v>
                </c:pt>
                <c:pt idx="40">
                  <c:v>MAY10</c:v>
                </c:pt>
                <c:pt idx="41">
                  <c:v>JUN10</c:v>
                </c:pt>
                <c:pt idx="42">
                  <c:v>JUL10</c:v>
                </c:pt>
                <c:pt idx="43">
                  <c:v>AUG10</c:v>
                </c:pt>
                <c:pt idx="44">
                  <c:v>SEP10</c:v>
                </c:pt>
                <c:pt idx="45">
                  <c:v>OCT10</c:v>
                </c:pt>
                <c:pt idx="46">
                  <c:v>NOV10</c:v>
                </c:pt>
                <c:pt idx="47">
                  <c:v>DEC10</c:v>
                </c:pt>
                <c:pt idx="48">
                  <c:v>JAN11</c:v>
                </c:pt>
                <c:pt idx="49">
                  <c:v>FEB11</c:v>
                </c:pt>
                <c:pt idx="50">
                  <c:v>MAR11</c:v>
                </c:pt>
                <c:pt idx="51">
                  <c:v>APR11</c:v>
                </c:pt>
                <c:pt idx="52">
                  <c:v>MAY11</c:v>
                </c:pt>
                <c:pt idx="53">
                  <c:v>JUN11</c:v>
                </c:pt>
                <c:pt idx="54">
                  <c:v>JUL11</c:v>
                </c:pt>
                <c:pt idx="55">
                  <c:v>AUG11</c:v>
                </c:pt>
                <c:pt idx="56">
                  <c:v>SEP11</c:v>
                </c:pt>
                <c:pt idx="57">
                  <c:v>OCT11</c:v>
                </c:pt>
                <c:pt idx="58">
                  <c:v>NOV11</c:v>
                </c:pt>
                <c:pt idx="59">
                  <c:v>DEC11</c:v>
                </c:pt>
                <c:pt idx="60">
                  <c:v>JAN12</c:v>
                </c:pt>
                <c:pt idx="61">
                  <c:v>FEB12</c:v>
                </c:pt>
                <c:pt idx="62">
                  <c:v>MAR12</c:v>
                </c:pt>
                <c:pt idx="63">
                  <c:v>APR12</c:v>
                </c:pt>
                <c:pt idx="64">
                  <c:v>MAY12</c:v>
                </c:pt>
                <c:pt idx="65">
                  <c:v>JUN12</c:v>
                </c:pt>
                <c:pt idx="66">
                  <c:v>JUL12</c:v>
                </c:pt>
                <c:pt idx="67">
                  <c:v>AUG12</c:v>
                </c:pt>
                <c:pt idx="68">
                  <c:v>SEP12</c:v>
                </c:pt>
                <c:pt idx="69">
                  <c:v>OCT12</c:v>
                </c:pt>
                <c:pt idx="70">
                  <c:v>NOV12</c:v>
                </c:pt>
                <c:pt idx="71">
                  <c:v>DEC12</c:v>
                </c:pt>
                <c:pt idx="72">
                  <c:v>JAN13</c:v>
                </c:pt>
                <c:pt idx="73">
                  <c:v>FEB13</c:v>
                </c:pt>
                <c:pt idx="74">
                  <c:v>MAR13</c:v>
                </c:pt>
                <c:pt idx="75">
                  <c:v>APR13</c:v>
                </c:pt>
                <c:pt idx="76">
                  <c:v>MAY13</c:v>
                </c:pt>
                <c:pt idx="77">
                  <c:v>JUN13</c:v>
                </c:pt>
                <c:pt idx="78">
                  <c:v>JUL13</c:v>
                </c:pt>
                <c:pt idx="79">
                  <c:v>AUG13</c:v>
                </c:pt>
                <c:pt idx="80">
                  <c:v>SEP13</c:v>
                </c:pt>
                <c:pt idx="81">
                  <c:v>OCT13</c:v>
                </c:pt>
                <c:pt idx="82">
                  <c:v>NOV13</c:v>
                </c:pt>
                <c:pt idx="83">
                  <c:v>DEC13</c:v>
                </c:pt>
                <c:pt idx="84">
                  <c:v>JAN14</c:v>
                </c:pt>
                <c:pt idx="85">
                  <c:v>FEB14</c:v>
                </c:pt>
                <c:pt idx="86">
                  <c:v>MAR14</c:v>
                </c:pt>
                <c:pt idx="87">
                  <c:v>APR14</c:v>
                </c:pt>
                <c:pt idx="88">
                  <c:v>MAY14</c:v>
                </c:pt>
                <c:pt idx="89">
                  <c:v>JUN14</c:v>
                </c:pt>
                <c:pt idx="90">
                  <c:v>JUL14</c:v>
                </c:pt>
                <c:pt idx="91">
                  <c:v>AUG14</c:v>
                </c:pt>
                <c:pt idx="92">
                  <c:v>SEP14</c:v>
                </c:pt>
                <c:pt idx="93">
                  <c:v>OCT14</c:v>
                </c:pt>
                <c:pt idx="94">
                  <c:v>NOV14</c:v>
                </c:pt>
                <c:pt idx="95">
                  <c:v>DEC14</c:v>
                </c:pt>
                <c:pt idx="96">
                  <c:v>JAN15</c:v>
                </c:pt>
                <c:pt idx="97">
                  <c:v>FEB15</c:v>
                </c:pt>
                <c:pt idx="98">
                  <c:v>MAR15</c:v>
                </c:pt>
                <c:pt idx="99">
                  <c:v>APR15</c:v>
                </c:pt>
                <c:pt idx="100">
                  <c:v>MAY15</c:v>
                </c:pt>
                <c:pt idx="101">
                  <c:v>JUN15</c:v>
                </c:pt>
                <c:pt idx="102">
                  <c:v>JUL15</c:v>
                </c:pt>
                <c:pt idx="103">
                  <c:v>AUG15</c:v>
                </c:pt>
                <c:pt idx="104">
                  <c:v>SEP15</c:v>
                </c:pt>
                <c:pt idx="105">
                  <c:v>OCT15</c:v>
                </c:pt>
                <c:pt idx="106">
                  <c:v>NOV15</c:v>
                </c:pt>
                <c:pt idx="107">
                  <c:v>DEC15</c:v>
                </c:pt>
                <c:pt idx="108">
                  <c:v>JAN16</c:v>
                </c:pt>
                <c:pt idx="109">
                  <c:v>FEB16</c:v>
                </c:pt>
                <c:pt idx="110">
                  <c:v>MAR16</c:v>
                </c:pt>
                <c:pt idx="111">
                  <c:v>APR16</c:v>
                </c:pt>
                <c:pt idx="112">
                  <c:v>MAY16</c:v>
                </c:pt>
                <c:pt idx="113">
                  <c:v>JUN16</c:v>
                </c:pt>
                <c:pt idx="114">
                  <c:v>JUL16</c:v>
                </c:pt>
                <c:pt idx="115">
                  <c:v>AUG16</c:v>
                </c:pt>
                <c:pt idx="116">
                  <c:v>SEP16</c:v>
                </c:pt>
                <c:pt idx="117">
                  <c:v>OCT16</c:v>
                </c:pt>
                <c:pt idx="118">
                  <c:v>NOV16</c:v>
                </c:pt>
                <c:pt idx="119">
                  <c:v>DEC16</c:v>
                </c:pt>
                <c:pt idx="120">
                  <c:v>JAN17</c:v>
                </c:pt>
                <c:pt idx="121">
                  <c:v>FEB17</c:v>
                </c:pt>
                <c:pt idx="122">
                  <c:v>MAR17</c:v>
                </c:pt>
                <c:pt idx="123">
                  <c:v>APR17</c:v>
                </c:pt>
                <c:pt idx="124">
                  <c:v>MAY17</c:v>
                </c:pt>
                <c:pt idx="125">
                  <c:v>JUN17</c:v>
                </c:pt>
                <c:pt idx="126">
                  <c:v>JUL17</c:v>
                </c:pt>
                <c:pt idx="127">
                  <c:v>AUG17</c:v>
                </c:pt>
                <c:pt idx="128">
                  <c:v>SEP17</c:v>
                </c:pt>
                <c:pt idx="129">
                  <c:v>OCT17</c:v>
                </c:pt>
                <c:pt idx="130">
                  <c:v>NOV17</c:v>
                </c:pt>
                <c:pt idx="131">
                  <c:v>DEC17</c:v>
                </c:pt>
                <c:pt idx="132">
                  <c:v>JAN18</c:v>
                </c:pt>
                <c:pt idx="133">
                  <c:v>FEB18</c:v>
                </c:pt>
                <c:pt idx="134">
                  <c:v>MAR18</c:v>
                </c:pt>
              </c:strCache>
            </c:strRef>
          </c:cat>
          <c:val>
            <c:numRef>
              <c:f>'overall UZA ridership'!$B$25:$EF$25</c:f>
              <c:numCache>
                <c:formatCode>General</c:formatCode>
                <c:ptCount val="135"/>
                <c:pt idx="0">
                  <c:v>35740333.583333336</c:v>
                </c:pt>
                <c:pt idx="1">
                  <c:v>35690659.25</c:v>
                </c:pt>
                <c:pt idx="2">
                  <c:v>35662645</c:v>
                </c:pt>
                <c:pt idx="3">
                  <c:v>35678128.583333336</c:v>
                </c:pt>
                <c:pt idx="4">
                  <c:v>35650989.333333336</c:v>
                </c:pt>
                <c:pt idx="5">
                  <c:v>35565865.583333336</c:v>
                </c:pt>
                <c:pt idx="6">
                  <c:v>35604957.166666672</c:v>
                </c:pt>
                <c:pt idx="7">
                  <c:v>35661368.416666664</c:v>
                </c:pt>
                <c:pt idx="8">
                  <c:v>35681415.333333336</c:v>
                </c:pt>
                <c:pt idx="9">
                  <c:v>35721280.416666664</c:v>
                </c:pt>
                <c:pt idx="10">
                  <c:v>35757762.583333336</c:v>
                </c:pt>
                <c:pt idx="11">
                  <c:v>35795776</c:v>
                </c:pt>
                <c:pt idx="12">
                  <c:v>35796373.333333336</c:v>
                </c:pt>
                <c:pt idx="13">
                  <c:v>35907522.083333336</c:v>
                </c:pt>
                <c:pt idx="14">
                  <c:v>35888931.166666672</c:v>
                </c:pt>
                <c:pt idx="15">
                  <c:v>35999605.083333336</c:v>
                </c:pt>
                <c:pt idx="16">
                  <c:v>36003373.833333336</c:v>
                </c:pt>
                <c:pt idx="17">
                  <c:v>36082383.916666664</c:v>
                </c:pt>
                <c:pt idx="18">
                  <c:v>36461326.916666664</c:v>
                </c:pt>
                <c:pt idx="19">
                  <c:v>36454932.083333336</c:v>
                </c:pt>
                <c:pt idx="20">
                  <c:v>36705002.833333336</c:v>
                </c:pt>
                <c:pt idx="21">
                  <c:v>36847282.333333336</c:v>
                </c:pt>
                <c:pt idx="22">
                  <c:v>36969179.333333336</c:v>
                </c:pt>
                <c:pt idx="23">
                  <c:v>37034295.416666664</c:v>
                </c:pt>
                <c:pt idx="24">
                  <c:v>37221745.166666672</c:v>
                </c:pt>
                <c:pt idx="25">
                  <c:v>37272611.583333336</c:v>
                </c:pt>
                <c:pt idx="26">
                  <c:v>37348226.5</c:v>
                </c:pt>
                <c:pt idx="27">
                  <c:v>37357179.25</c:v>
                </c:pt>
                <c:pt idx="28">
                  <c:v>37211010.5</c:v>
                </c:pt>
                <c:pt idx="29">
                  <c:v>37165840</c:v>
                </c:pt>
                <c:pt idx="30">
                  <c:v>37152550.75</c:v>
                </c:pt>
                <c:pt idx="31">
                  <c:v>37203780.5</c:v>
                </c:pt>
                <c:pt idx="32">
                  <c:v>37236108.416666664</c:v>
                </c:pt>
                <c:pt idx="33">
                  <c:v>37238862.5</c:v>
                </c:pt>
                <c:pt idx="34">
                  <c:v>37257071.5</c:v>
                </c:pt>
                <c:pt idx="35">
                  <c:v>37274670.083333336</c:v>
                </c:pt>
                <c:pt idx="36">
                  <c:v>37079139</c:v>
                </c:pt>
                <c:pt idx="37">
                  <c:v>36921202.25</c:v>
                </c:pt>
                <c:pt idx="38">
                  <c:v>36839949.75</c:v>
                </c:pt>
                <c:pt idx="39">
                  <c:v>36694059.25</c:v>
                </c:pt>
                <c:pt idx="40">
                  <c:v>36527740.333333336</c:v>
                </c:pt>
                <c:pt idx="41">
                  <c:v>36371483.833333336</c:v>
                </c:pt>
                <c:pt idx="42">
                  <c:v>35893114.916666664</c:v>
                </c:pt>
                <c:pt idx="43">
                  <c:v>35523166.5</c:v>
                </c:pt>
                <c:pt idx="44">
                  <c:v>35246305.333333336</c:v>
                </c:pt>
                <c:pt idx="45">
                  <c:v>34909786.916666664</c:v>
                </c:pt>
                <c:pt idx="46">
                  <c:v>34752412.5</c:v>
                </c:pt>
                <c:pt idx="47">
                  <c:v>34609204.916666664</c:v>
                </c:pt>
                <c:pt idx="48">
                  <c:v>34641100.416666664</c:v>
                </c:pt>
                <c:pt idx="49">
                  <c:v>34721775.583333336</c:v>
                </c:pt>
                <c:pt idx="50">
                  <c:v>34680260.916666664</c:v>
                </c:pt>
                <c:pt idx="51">
                  <c:v>34696535.833333336</c:v>
                </c:pt>
                <c:pt idx="52">
                  <c:v>34752351.083333336</c:v>
                </c:pt>
                <c:pt idx="53">
                  <c:v>34711328.333333336</c:v>
                </c:pt>
                <c:pt idx="54">
                  <c:v>34832205.333333336</c:v>
                </c:pt>
                <c:pt idx="55">
                  <c:v>35048457.25</c:v>
                </c:pt>
                <c:pt idx="56">
                  <c:v>35217983.083333336</c:v>
                </c:pt>
                <c:pt idx="57">
                  <c:v>35363002.75</c:v>
                </c:pt>
                <c:pt idx="58">
                  <c:v>35518343.333333336</c:v>
                </c:pt>
                <c:pt idx="59">
                  <c:v>35596323.583333336</c:v>
                </c:pt>
                <c:pt idx="60">
                  <c:v>35722008.5</c:v>
                </c:pt>
                <c:pt idx="61">
                  <c:v>35966557.333333336</c:v>
                </c:pt>
                <c:pt idx="62">
                  <c:v>36065600.25</c:v>
                </c:pt>
                <c:pt idx="63">
                  <c:v>36206500.5</c:v>
                </c:pt>
                <c:pt idx="64">
                  <c:v>36347523.916666664</c:v>
                </c:pt>
                <c:pt idx="65">
                  <c:v>36407049.166666672</c:v>
                </c:pt>
                <c:pt idx="66">
                  <c:v>36479999.583333336</c:v>
                </c:pt>
                <c:pt idx="67">
                  <c:v>36565058.333333336</c:v>
                </c:pt>
                <c:pt idx="68">
                  <c:v>36485482.416666664</c:v>
                </c:pt>
                <c:pt idx="69">
                  <c:v>36657152.583333336</c:v>
                </c:pt>
                <c:pt idx="70">
                  <c:v>36686709.583333336</c:v>
                </c:pt>
                <c:pt idx="71">
                  <c:v>36684713.083333336</c:v>
                </c:pt>
                <c:pt idx="72">
                  <c:v>36679153.75</c:v>
                </c:pt>
                <c:pt idx="73">
                  <c:v>36518561.666666672</c:v>
                </c:pt>
                <c:pt idx="74">
                  <c:v>36521973.666666672</c:v>
                </c:pt>
                <c:pt idx="75">
                  <c:v>36606143.083333336</c:v>
                </c:pt>
                <c:pt idx="76">
                  <c:v>36732623.666666672</c:v>
                </c:pt>
                <c:pt idx="77">
                  <c:v>36755657</c:v>
                </c:pt>
                <c:pt idx="78">
                  <c:v>36694781.75</c:v>
                </c:pt>
                <c:pt idx="79">
                  <c:v>36693338.166666672</c:v>
                </c:pt>
                <c:pt idx="80">
                  <c:v>36869888.5</c:v>
                </c:pt>
                <c:pt idx="81">
                  <c:v>36759988</c:v>
                </c:pt>
                <c:pt idx="82">
                  <c:v>36775684.916666664</c:v>
                </c:pt>
                <c:pt idx="83">
                  <c:v>36951172.166666672</c:v>
                </c:pt>
                <c:pt idx="84">
                  <c:v>37174092.416666664</c:v>
                </c:pt>
                <c:pt idx="85">
                  <c:v>37307161.5</c:v>
                </c:pt>
                <c:pt idx="86">
                  <c:v>37466744.166666672</c:v>
                </c:pt>
                <c:pt idx="87">
                  <c:v>37698040.166666672</c:v>
                </c:pt>
                <c:pt idx="88">
                  <c:v>37899203.333333336</c:v>
                </c:pt>
                <c:pt idx="89">
                  <c:v>38149797.75</c:v>
                </c:pt>
                <c:pt idx="90">
                  <c:v>38451114.333333336</c:v>
                </c:pt>
                <c:pt idx="91">
                  <c:v>38521357.25</c:v>
                </c:pt>
                <c:pt idx="92">
                  <c:v>38596776.833333336</c:v>
                </c:pt>
                <c:pt idx="93">
                  <c:v>38864252.916666664</c:v>
                </c:pt>
                <c:pt idx="94">
                  <c:v>38854813.666666672</c:v>
                </c:pt>
                <c:pt idx="95">
                  <c:v>38797131.083333336</c:v>
                </c:pt>
                <c:pt idx="96">
                  <c:v>38676879.583333336</c:v>
                </c:pt>
                <c:pt idx="97">
                  <c:v>38605687.416666664</c:v>
                </c:pt>
                <c:pt idx="98">
                  <c:v>38611043</c:v>
                </c:pt>
                <c:pt idx="99">
                  <c:v>38417901.75</c:v>
                </c:pt>
                <c:pt idx="100">
                  <c:v>38135976.666666672</c:v>
                </c:pt>
                <c:pt idx="101">
                  <c:v>38046091.416666664</c:v>
                </c:pt>
                <c:pt idx="102">
                  <c:v>38137932.25</c:v>
                </c:pt>
                <c:pt idx="103">
                  <c:v>38219061.333333336</c:v>
                </c:pt>
                <c:pt idx="104">
                  <c:v>38286597.416666664</c:v>
                </c:pt>
                <c:pt idx="105">
                  <c:v>38287159.916666664</c:v>
                </c:pt>
                <c:pt idx="106">
                  <c:v>38390279.25</c:v>
                </c:pt>
                <c:pt idx="107">
                  <c:v>38477724.833333336</c:v>
                </c:pt>
                <c:pt idx="108">
                  <c:v>38490351.25</c:v>
                </c:pt>
                <c:pt idx="109">
                  <c:v>38861887.75</c:v>
                </c:pt>
                <c:pt idx="110">
                  <c:v>38947850.666666672</c:v>
                </c:pt>
                <c:pt idx="111">
                  <c:v>38997216.083333336</c:v>
                </c:pt>
                <c:pt idx="112">
                  <c:v>39138619.833333336</c:v>
                </c:pt>
                <c:pt idx="113">
                  <c:v>39188444</c:v>
                </c:pt>
                <c:pt idx="114">
                  <c:v>38941008.333333336</c:v>
                </c:pt>
                <c:pt idx="115">
                  <c:v>38931197</c:v>
                </c:pt>
                <c:pt idx="116">
                  <c:v>38827568.25</c:v>
                </c:pt>
                <c:pt idx="117">
                  <c:v>38630906.416666664</c:v>
                </c:pt>
                <c:pt idx="118">
                  <c:v>38701725.083333336</c:v>
                </c:pt>
                <c:pt idx="119">
                  <c:v>38607485.083333336</c:v>
                </c:pt>
                <c:pt idx="120">
                  <c:v>38547600.666666672</c:v>
                </c:pt>
                <c:pt idx="121">
                  <c:v>38195287.583333336</c:v>
                </c:pt>
                <c:pt idx="122">
                  <c:v>38161162.416666664</c:v>
                </c:pt>
                <c:pt idx="123">
                  <c:v>38013546.25</c:v>
                </c:pt>
                <c:pt idx="124">
                  <c:v>38037409.333333336</c:v>
                </c:pt>
                <c:pt idx="125">
                  <c:v>38006003</c:v>
                </c:pt>
                <c:pt idx="126">
                  <c:v>37923549.333333336</c:v>
                </c:pt>
                <c:pt idx="127">
                  <c:v>37857480.666666672</c:v>
                </c:pt>
                <c:pt idx="128">
                  <c:v>37757956.75</c:v>
                </c:pt>
                <c:pt idx="129">
                  <c:v>37796953.416666664</c:v>
                </c:pt>
                <c:pt idx="130">
                  <c:v>37729833.25</c:v>
                </c:pt>
                <c:pt idx="131">
                  <c:v>37686616.583333336</c:v>
                </c:pt>
                <c:pt idx="132">
                  <c:v>37749808.416666664</c:v>
                </c:pt>
                <c:pt idx="133">
                  <c:v>37792948.333333336</c:v>
                </c:pt>
                <c:pt idx="134">
                  <c:v>37723458.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F6DC-40B0-A604-4A9C932C9C9D}"/>
            </c:ext>
          </c:extLst>
        </c:ser>
        <c:ser>
          <c:idx val="6"/>
          <c:order val="6"/>
          <c:tx>
            <c:strRef>
              <c:f>'overall UZA ridership'!$A$26</c:f>
              <c:strCache>
                <c:ptCount val="1"/>
                <c:pt idx="0">
                  <c:v>Seattle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strRef>
              <c:f>'overall UZA ridership'!$B$1:$EF$1</c:f>
              <c:strCache>
                <c:ptCount val="135"/>
                <c:pt idx="0">
                  <c:v>JAN07</c:v>
                </c:pt>
                <c:pt idx="1">
                  <c:v>FEB07</c:v>
                </c:pt>
                <c:pt idx="2">
                  <c:v>MAR07</c:v>
                </c:pt>
                <c:pt idx="3">
                  <c:v>APR07</c:v>
                </c:pt>
                <c:pt idx="4">
                  <c:v>MAY07</c:v>
                </c:pt>
                <c:pt idx="5">
                  <c:v>JUN07</c:v>
                </c:pt>
                <c:pt idx="6">
                  <c:v>JUL07</c:v>
                </c:pt>
                <c:pt idx="7">
                  <c:v>AUG07</c:v>
                </c:pt>
                <c:pt idx="8">
                  <c:v>SEP07</c:v>
                </c:pt>
                <c:pt idx="9">
                  <c:v>OCT07</c:v>
                </c:pt>
                <c:pt idx="10">
                  <c:v>NOV07</c:v>
                </c:pt>
                <c:pt idx="11">
                  <c:v>DEC07</c:v>
                </c:pt>
                <c:pt idx="12">
                  <c:v>JAN08</c:v>
                </c:pt>
                <c:pt idx="13">
                  <c:v>FEB08</c:v>
                </c:pt>
                <c:pt idx="14">
                  <c:v>MAR08</c:v>
                </c:pt>
                <c:pt idx="15">
                  <c:v>APR08</c:v>
                </c:pt>
                <c:pt idx="16">
                  <c:v>MAY08</c:v>
                </c:pt>
                <c:pt idx="17">
                  <c:v>JUN08</c:v>
                </c:pt>
                <c:pt idx="18">
                  <c:v>JUL08</c:v>
                </c:pt>
                <c:pt idx="19">
                  <c:v>AUG08</c:v>
                </c:pt>
                <c:pt idx="20">
                  <c:v>SEP08</c:v>
                </c:pt>
                <c:pt idx="21">
                  <c:v>OCT08</c:v>
                </c:pt>
                <c:pt idx="22">
                  <c:v>NOV08</c:v>
                </c:pt>
                <c:pt idx="23">
                  <c:v>DEC08</c:v>
                </c:pt>
                <c:pt idx="24">
                  <c:v>JAN09</c:v>
                </c:pt>
                <c:pt idx="25">
                  <c:v>FEB09</c:v>
                </c:pt>
                <c:pt idx="26">
                  <c:v>MAR09</c:v>
                </c:pt>
                <c:pt idx="27">
                  <c:v>APR09</c:v>
                </c:pt>
                <c:pt idx="28">
                  <c:v>MAY09</c:v>
                </c:pt>
                <c:pt idx="29">
                  <c:v>JUN09</c:v>
                </c:pt>
                <c:pt idx="30">
                  <c:v>JUL09</c:v>
                </c:pt>
                <c:pt idx="31">
                  <c:v>AUG09</c:v>
                </c:pt>
                <c:pt idx="32">
                  <c:v>SEP09</c:v>
                </c:pt>
                <c:pt idx="33">
                  <c:v>OCT09</c:v>
                </c:pt>
                <c:pt idx="34">
                  <c:v>NOV09</c:v>
                </c:pt>
                <c:pt idx="35">
                  <c:v>DEC09</c:v>
                </c:pt>
                <c:pt idx="36">
                  <c:v>JAN10</c:v>
                </c:pt>
                <c:pt idx="37">
                  <c:v>FEB10</c:v>
                </c:pt>
                <c:pt idx="38">
                  <c:v>MAR10</c:v>
                </c:pt>
                <c:pt idx="39">
                  <c:v>APR10</c:v>
                </c:pt>
                <c:pt idx="40">
                  <c:v>MAY10</c:v>
                </c:pt>
                <c:pt idx="41">
                  <c:v>JUN10</c:v>
                </c:pt>
                <c:pt idx="42">
                  <c:v>JUL10</c:v>
                </c:pt>
                <c:pt idx="43">
                  <c:v>AUG10</c:v>
                </c:pt>
                <c:pt idx="44">
                  <c:v>SEP10</c:v>
                </c:pt>
                <c:pt idx="45">
                  <c:v>OCT10</c:v>
                </c:pt>
                <c:pt idx="46">
                  <c:v>NOV10</c:v>
                </c:pt>
                <c:pt idx="47">
                  <c:v>DEC10</c:v>
                </c:pt>
                <c:pt idx="48">
                  <c:v>JAN11</c:v>
                </c:pt>
                <c:pt idx="49">
                  <c:v>FEB11</c:v>
                </c:pt>
                <c:pt idx="50">
                  <c:v>MAR11</c:v>
                </c:pt>
                <c:pt idx="51">
                  <c:v>APR11</c:v>
                </c:pt>
                <c:pt idx="52">
                  <c:v>MAY11</c:v>
                </c:pt>
                <c:pt idx="53">
                  <c:v>JUN11</c:v>
                </c:pt>
                <c:pt idx="54">
                  <c:v>JUL11</c:v>
                </c:pt>
                <c:pt idx="55">
                  <c:v>AUG11</c:v>
                </c:pt>
                <c:pt idx="56">
                  <c:v>SEP11</c:v>
                </c:pt>
                <c:pt idx="57">
                  <c:v>OCT11</c:v>
                </c:pt>
                <c:pt idx="58">
                  <c:v>NOV11</c:v>
                </c:pt>
                <c:pt idx="59">
                  <c:v>DEC11</c:v>
                </c:pt>
                <c:pt idx="60">
                  <c:v>JAN12</c:v>
                </c:pt>
                <c:pt idx="61">
                  <c:v>FEB12</c:v>
                </c:pt>
                <c:pt idx="62">
                  <c:v>MAR12</c:v>
                </c:pt>
                <c:pt idx="63">
                  <c:v>APR12</c:v>
                </c:pt>
                <c:pt idx="64">
                  <c:v>MAY12</c:v>
                </c:pt>
                <c:pt idx="65">
                  <c:v>JUN12</c:v>
                </c:pt>
                <c:pt idx="66">
                  <c:v>JUL12</c:v>
                </c:pt>
                <c:pt idx="67">
                  <c:v>AUG12</c:v>
                </c:pt>
                <c:pt idx="68">
                  <c:v>SEP12</c:v>
                </c:pt>
                <c:pt idx="69">
                  <c:v>OCT12</c:v>
                </c:pt>
                <c:pt idx="70">
                  <c:v>NOV12</c:v>
                </c:pt>
                <c:pt idx="71">
                  <c:v>DEC12</c:v>
                </c:pt>
                <c:pt idx="72">
                  <c:v>JAN13</c:v>
                </c:pt>
                <c:pt idx="73">
                  <c:v>FEB13</c:v>
                </c:pt>
                <c:pt idx="74">
                  <c:v>MAR13</c:v>
                </c:pt>
                <c:pt idx="75">
                  <c:v>APR13</c:v>
                </c:pt>
                <c:pt idx="76">
                  <c:v>MAY13</c:v>
                </c:pt>
                <c:pt idx="77">
                  <c:v>JUN13</c:v>
                </c:pt>
                <c:pt idx="78">
                  <c:v>JUL13</c:v>
                </c:pt>
                <c:pt idx="79">
                  <c:v>AUG13</c:v>
                </c:pt>
                <c:pt idx="80">
                  <c:v>SEP13</c:v>
                </c:pt>
                <c:pt idx="81">
                  <c:v>OCT13</c:v>
                </c:pt>
                <c:pt idx="82">
                  <c:v>NOV13</c:v>
                </c:pt>
                <c:pt idx="83">
                  <c:v>DEC13</c:v>
                </c:pt>
                <c:pt idx="84">
                  <c:v>JAN14</c:v>
                </c:pt>
                <c:pt idx="85">
                  <c:v>FEB14</c:v>
                </c:pt>
                <c:pt idx="86">
                  <c:v>MAR14</c:v>
                </c:pt>
                <c:pt idx="87">
                  <c:v>APR14</c:v>
                </c:pt>
                <c:pt idx="88">
                  <c:v>MAY14</c:v>
                </c:pt>
                <c:pt idx="89">
                  <c:v>JUN14</c:v>
                </c:pt>
                <c:pt idx="90">
                  <c:v>JUL14</c:v>
                </c:pt>
                <c:pt idx="91">
                  <c:v>AUG14</c:v>
                </c:pt>
                <c:pt idx="92">
                  <c:v>SEP14</c:v>
                </c:pt>
                <c:pt idx="93">
                  <c:v>OCT14</c:v>
                </c:pt>
                <c:pt idx="94">
                  <c:v>NOV14</c:v>
                </c:pt>
                <c:pt idx="95">
                  <c:v>DEC14</c:v>
                </c:pt>
                <c:pt idx="96">
                  <c:v>JAN15</c:v>
                </c:pt>
                <c:pt idx="97">
                  <c:v>FEB15</c:v>
                </c:pt>
                <c:pt idx="98">
                  <c:v>MAR15</c:v>
                </c:pt>
                <c:pt idx="99">
                  <c:v>APR15</c:v>
                </c:pt>
                <c:pt idx="100">
                  <c:v>MAY15</c:v>
                </c:pt>
                <c:pt idx="101">
                  <c:v>JUN15</c:v>
                </c:pt>
                <c:pt idx="102">
                  <c:v>JUL15</c:v>
                </c:pt>
                <c:pt idx="103">
                  <c:v>AUG15</c:v>
                </c:pt>
                <c:pt idx="104">
                  <c:v>SEP15</c:v>
                </c:pt>
                <c:pt idx="105">
                  <c:v>OCT15</c:v>
                </c:pt>
                <c:pt idx="106">
                  <c:v>NOV15</c:v>
                </c:pt>
                <c:pt idx="107">
                  <c:v>DEC15</c:v>
                </c:pt>
                <c:pt idx="108">
                  <c:v>JAN16</c:v>
                </c:pt>
                <c:pt idx="109">
                  <c:v>FEB16</c:v>
                </c:pt>
                <c:pt idx="110">
                  <c:v>MAR16</c:v>
                </c:pt>
                <c:pt idx="111">
                  <c:v>APR16</c:v>
                </c:pt>
                <c:pt idx="112">
                  <c:v>MAY16</c:v>
                </c:pt>
                <c:pt idx="113">
                  <c:v>JUN16</c:v>
                </c:pt>
                <c:pt idx="114">
                  <c:v>JUL16</c:v>
                </c:pt>
                <c:pt idx="115">
                  <c:v>AUG16</c:v>
                </c:pt>
                <c:pt idx="116">
                  <c:v>SEP16</c:v>
                </c:pt>
                <c:pt idx="117">
                  <c:v>OCT16</c:v>
                </c:pt>
                <c:pt idx="118">
                  <c:v>NOV16</c:v>
                </c:pt>
                <c:pt idx="119">
                  <c:v>DEC16</c:v>
                </c:pt>
                <c:pt idx="120">
                  <c:v>JAN17</c:v>
                </c:pt>
                <c:pt idx="121">
                  <c:v>FEB17</c:v>
                </c:pt>
                <c:pt idx="122">
                  <c:v>MAR17</c:v>
                </c:pt>
                <c:pt idx="123">
                  <c:v>APR17</c:v>
                </c:pt>
                <c:pt idx="124">
                  <c:v>MAY17</c:v>
                </c:pt>
                <c:pt idx="125">
                  <c:v>JUN17</c:v>
                </c:pt>
                <c:pt idx="126">
                  <c:v>JUL17</c:v>
                </c:pt>
                <c:pt idx="127">
                  <c:v>AUG17</c:v>
                </c:pt>
                <c:pt idx="128">
                  <c:v>SEP17</c:v>
                </c:pt>
                <c:pt idx="129">
                  <c:v>OCT17</c:v>
                </c:pt>
                <c:pt idx="130">
                  <c:v>NOV17</c:v>
                </c:pt>
                <c:pt idx="131">
                  <c:v>DEC17</c:v>
                </c:pt>
                <c:pt idx="132">
                  <c:v>JAN18</c:v>
                </c:pt>
                <c:pt idx="133">
                  <c:v>FEB18</c:v>
                </c:pt>
                <c:pt idx="134">
                  <c:v>MAR18</c:v>
                </c:pt>
              </c:strCache>
            </c:strRef>
          </c:cat>
          <c:val>
            <c:numRef>
              <c:f>'overall UZA ridership'!$B$26:$EF$26</c:f>
              <c:numCache>
                <c:formatCode>General</c:formatCode>
                <c:ptCount val="135"/>
                <c:pt idx="0">
                  <c:v>14085099.833333334</c:v>
                </c:pt>
                <c:pt idx="1">
                  <c:v>14164580.583333334</c:v>
                </c:pt>
                <c:pt idx="2">
                  <c:v>14222387.083333334</c:v>
                </c:pt>
                <c:pt idx="3">
                  <c:v>14346347</c:v>
                </c:pt>
                <c:pt idx="4">
                  <c:v>14430271.916666664</c:v>
                </c:pt>
                <c:pt idx="5">
                  <c:v>14485106.25</c:v>
                </c:pt>
                <c:pt idx="6">
                  <c:v>14599715.083333334</c:v>
                </c:pt>
                <c:pt idx="7">
                  <c:v>14694032.25</c:v>
                </c:pt>
                <c:pt idx="8">
                  <c:v>14738752.583333334</c:v>
                </c:pt>
                <c:pt idx="9">
                  <c:v>14843768.25</c:v>
                </c:pt>
                <c:pt idx="10">
                  <c:v>14955214.916666664</c:v>
                </c:pt>
                <c:pt idx="11">
                  <c:v>15005078.833333334</c:v>
                </c:pt>
                <c:pt idx="12">
                  <c:v>15092590.166666664</c:v>
                </c:pt>
                <c:pt idx="13">
                  <c:v>15208859</c:v>
                </c:pt>
                <c:pt idx="14">
                  <c:v>15270799.416666664</c:v>
                </c:pt>
                <c:pt idx="15">
                  <c:v>15383427.583333334</c:v>
                </c:pt>
                <c:pt idx="16">
                  <c:v>15455792.833333334</c:v>
                </c:pt>
                <c:pt idx="17">
                  <c:v>15572077.916666664</c:v>
                </c:pt>
                <c:pt idx="18">
                  <c:v>15738920.083333334</c:v>
                </c:pt>
                <c:pt idx="19">
                  <c:v>15781642.25</c:v>
                </c:pt>
                <c:pt idx="20">
                  <c:v>15945074.666666664</c:v>
                </c:pt>
                <c:pt idx="21">
                  <c:v>16067823.333333334</c:v>
                </c:pt>
                <c:pt idx="22">
                  <c:v>16087156.583333334</c:v>
                </c:pt>
                <c:pt idx="23">
                  <c:v>16099715.333333334</c:v>
                </c:pt>
                <c:pt idx="24">
                  <c:v>16125023.166666664</c:v>
                </c:pt>
                <c:pt idx="25">
                  <c:v>16094738.75</c:v>
                </c:pt>
                <c:pt idx="26">
                  <c:v>16108333.416666664</c:v>
                </c:pt>
                <c:pt idx="27">
                  <c:v>16077190.75</c:v>
                </c:pt>
                <c:pt idx="28">
                  <c:v>15989491.75</c:v>
                </c:pt>
                <c:pt idx="29">
                  <c:v>15948176.583333334</c:v>
                </c:pt>
                <c:pt idx="30">
                  <c:v>15862438.916666664</c:v>
                </c:pt>
                <c:pt idx="31">
                  <c:v>15815040.5</c:v>
                </c:pt>
                <c:pt idx="32">
                  <c:v>15744836.583333334</c:v>
                </c:pt>
                <c:pt idx="33">
                  <c:v>15652903.166666664</c:v>
                </c:pt>
                <c:pt idx="34">
                  <c:v>15613012.75</c:v>
                </c:pt>
                <c:pt idx="35">
                  <c:v>15698335.833333334</c:v>
                </c:pt>
                <c:pt idx="36">
                  <c:v>15668455</c:v>
                </c:pt>
                <c:pt idx="37">
                  <c:v>15672169.75</c:v>
                </c:pt>
                <c:pt idx="38">
                  <c:v>15727758.916666664</c:v>
                </c:pt>
                <c:pt idx="39">
                  <c:v>15727439.083333334</c:v>
                </c:pt>
                <c:pt idx="40">
                  <c:v>15749052.333333334</c:v>
                </c:pt>
                <c:pt idx="41">
                  <c:v>15757158.166666664</c:v>
                </c:pt>
                <c:pt idx="42">
                  <c:v>15733512.583333334</c:v>
                </c:pt>
                <c:pt idx="43">
                  <c:v>15732835.666666664</c:v>
                </c:pt>
                <c:pt idx="44">
                  <c:v>15732622.916666664</c:v>
                </c:pt>
                <c:pt idx="45">
                  <c:v>15709785.916666664</c:v>
                </c:pt>
                <c:pt idx="46">
                  <c:v>15712194.833333334</c:v>
                </c:pt>
                <c:pt idx="47">
                  <c:v>15716885.083333334</c:v>
                </c:pt>
                <c:pt idx="48">
                  <c:v>15736829.333333334</c:v>
                </c:pt>
                <c:pt idx="49">
                  <c:v>15734852</c:v>
                </c:pt>
                <c:pt idx="50">
                  <c:v>15730771.583333334</c:v>
                </c:pt>
                <c:pt idx="51">
                  <c:v>15745771.75</c:v>
                </c:pt>
                <c:pt idx="52">
                  <c:v>15813920</c:v>
                </c:pt>
                <c:pt idx="53">
                  <c:v>15863983</c:v>
                </c:pt>
                <c:pt idx="54">
                  <c:v>15861457.75</c:v>
                </c:pt>
                <c:pt idx="55">
                  <c:v>15936429</c:v>
                </c:pt>
                <c:pt idx="56">
                  <c:v>15966288.833333334</c:v>
                </c:pt>
                <c:pt idx="57">
                  <c:v>15978719.666666664</c:v>
                </c:pt>
                <c:pt idx="58">
                  <c:v>16047860.166666664</c:v>
                </c:pt>
                <c:pt idx="59">
                  <c:v>16046501.666666664</c:v>
                </c:pt>
                <c:pt idx="60">
                  <c:v>15985127.416666664</c:v>
                </c:pt>
                <c:pt idx="61">
                  <c:v>16090429.25</c:v>
                </c:pt>
                <c:pt idx="62">
                  <c:v>16105466.916666664</c:v>
                </c:pt>
                <c:pt idx="63">
                  <c:v>16129837.083333334</c:v>
                </c:pt>
                <c:pt idx="64">
                  <c:v>16199768.166666664</c:v>
                </c:pt>
                <c:pt idx="65">
                  <c:v>16199690.25</c:v>
                </c:pt>
                <c:pt idx="66">
                  <c:v>16254174.666666664</c:v>
                </c:pt>
                <c:pt idx="67">
                  <c:v>16290894.166666664</c:v>
                </c:pt>
                <c:pt idx="68">
                  <c:v>16284192.25</c:v>
                </c:pt>
                <c:pt idx="69">
                  <c:v>16384872.666666664</c:v>
                </c:pt>
                <c:pt idx="70">
                  <c:v>16419975.333333334</c:v>
                </c:pt>
                <c:pt idx="71">
                  <c:v>16385118.25</c:v>
                </c:pt>
                <c:pt idx="72">
                  <c:v>16518981.416666664</c:v>
                </c:pt>
                <c:pt idx="73">
                  <c:v>16476680.166666664</c:v>
                </c:pt>
                <c:pt idx="74">
                  <c:v>16487817.583333334</c:v>
                </c:pt>
                <c:pt idx="75">
                  <c:v>16543480.25</c:v>
                </c:pt>
                <c:pt idx="76">
                  <c:v>16565211.916666664</c:v>
                </c:pt>
                <c:pt idx="77">
                  <c:v>16566640.75</c:v>
                </c:pt>
                <c:pt idx="78">
                  <c:v>16638322.25</c:v>
                </c:pt>
                <c:pt idx="79">
                  <c:v>16653096.25</c:v>
                </c:pt>
                <c:pt idx="80">
                  <c:v>16685873.583333334</c:v>
                </c:pt>
                <c:pt idx="81">
                  <c:v>16725185.666666664</c:v>
                </c:pt>
                <c:pt idx="82">
                  <c:v>16730732.916666664</c:v>
                </c:pt>
                <c:pt idx="83">
                  <c:v>16798003.083333332</c:v>
                </c:pt>
                <c:pt idx="84">
                  <c:v>16846835.583333332</c:v>
                </c:pt>
                <c:pt idx="85">
                  <c:v>16882242.5</c:v>
                </c:pt>
                <c:pt idx="86">
                  <c:v>16913743.166666668</c:v>
                </c:pt>
                <c:pt idx="87">
                  <c:v>16957818.833333336</c:v>
                </c:pt>
                <c:pt idx="88">
                  <c:v>16975365</c:v>
                </c:pt>
                <c:pt idx="89">
                  <c:v>17037809.25</c:v>
                </c:pt>
                <c:pt idx="90">
                  <c:v>17089859.75</c:v>
                </c:pt>
                <c:pt idx="91">
                  <c:v>17107019.666666668</c:v>
                </c:pt>
                <c:pt idx="92">
                  <c:v>17200864.083333332</c:v>
                </c:pt>
                <c:pt idx="93">
                  <c:v>17239153.916666668</c:v>
                </c:pt>
                <c:pt idx="94">
                  <c:v>17235414.416666668</c:v>
                </c:pt>
                <c:pt idx="95">
                  <c:v>17305008.333333336</c:v>
                </c:pt>
                <c:pt idx="96">
                  <c:v>17305923.5</c:v>
                </c:pt>
                <c:pt idx="97">
                  <c:v>17340187.5</c:v>
                </c:pt>
                <c:pt idx="98">
                  <c:v>17390278.833333336</c:v>
                </c:pt>
                <c:pt idx="99">
                  <c:v>17410919.75</c:v>
                </c:pt>
                <c:pt idx="100">
                  <c:v>17392028.916666668</c:v>
                </c:pt>
                <c:pt idx="101">
                  <c:v>17454636.916666668</c:v>
                </c:pt>
                <c:pt idx="102">
                  <c:v>17475453.416666668</c:v>
                </c:pt>
                <c:pt idx="103">
                  <c:v>17486446.083333332</c:v>
                </c:pt>
                <c:pt idx="104">
                  <c:v>17469554.5</c:v>
                </c:pt>
                <c:pt idx="105">
                  <c:v>17467175.833333336</c:v>
                </c:pt>
                <c:pt idx="106">
                  <c:v>17506250.583333332</c:v>
                </c:pt>
                <c:pt idx="107">
                  <c:v>17520510.916666668</c:v>
                </c:pt>
                <c:pt idx="108">
                  <c:v>17511851.666666668</c:v>
                </c:pt>
                <c:pt idx="109">
                  <c:v>17578600.166666668</c:v>
                </c:pt>
                <c:pt idx="110">
                  <c:v>17660482.25</c:v>
                </c:pt>
                <c:pt idx="111">
                  <c:v>17710572.833333336</c:v>
                </c:pt>
                <c:pt idx="112">
                  <c:v>17817773.25</c:v>
                </c:pt>
                <c:pt idx="113">
                  <c:v>17882684.333333336</c:v>
                </c:pt>
                <c:pt idx="114">
                  <c:v>17884254.75</c:v>
                </c:pt>
                <c:pt idx="115">
                  <c:v>18023263.25</c:v>
                </c:pt>
                <c:pt idx="116">
                  <c:v>18117770.833333336</c:v>
                </c:pt>
                <c:pt idx="117">
                  <c:v>18115736.833333336</c:v>
                </c:pt>
                <c:pt idx="118">
                  <c:v>18220581.833333336</c:v>
                </c:pt>
                <c:pt idx="119">
                  <c:v>18253547.25</c:v>
                </c:pt>
                <c:pt idx="120">
                  <c:v>18346117.166666668</c:v>
                </c:pt>
                <c:pt idx="121">
                  <c:v>18316679.666666668</c:v>
                </c:pt>
                <c:pt idx="122">
                  <c:v>18371112.166666668</c:v>
                </c:pt>
                <c:pt idx="123">
                  <c:v>18364536.166666668</c:v>
                </c:pt>
                <c:pt idx="124">
                  <c:v>18434295.083333332</c:v>
                </c:pt>
                <c:pt idx="125">
                  <c:v>18489025.666666668</c:v>
                </c:pt>
                <c:pt idx="126">
                  <c:v>18535868.333333336</c:v>
                </c:pt>
                <c:pt idx="127">
                  <c:v>18558569.166666668</c:v>
                </c:pt>
                <c:pt idx="128">
                  <c:v>18567846.083333332</c:v>
                </c:pt>
                <c:pt idx="129">
                  <c:v>18646900.666666668</c:v>
                </c:pt>
                <c:pt idx="130">
                  <c:v>18661431.166666668</c:v>
                </c:pt>
                <c:pt idx="131">
                  <c:v>18655027.75</c:v>
                </c:pt>
                <c:pt idx="132">
                  <c:v>18708468.75</c:v>
                </c:pt>
                <c:pt idx="133">
                  <c:v>18733894.75</c:v>
                </c:pt>
                <c:pt idx="134">
                  <c:v>18727009.2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6-F6DC-40B0-A604-4A9C932C9C9D}"/>
            </c:ext>
          </c:extLst>
        </c:ser>
        <c:ser>
          <c:idx val="7"/>
          <c:order val="7"/>
          <c:tx>
            <c:strRef>
              <c:f>'overall UZA ridership'!$A$27</c:f>
              <c:strCache>
                <c:ptCount val="1"/>
                <c:pt idx="0">
                  <c:v>Washington, DC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'overall UZA ridership'!$B$1:$EF$1</c:f>
              <c:strCache>
                <c:ptCount val="135"/>
                <c:pt idx="0">
                  <c:v>JAN07</c:v>
                </c:pt>
                <c:pt idx="1">
                  <c:v>FEB07</c:v>
                </c:pt>
                <c:pt idx="2">
                  <c:v>MAR07</c:v>
                </c:pt>
                <c:pt idx="3">
                  <c:v>APR07</c:v>
                </c:pt>
                <c:pt idx="4">
                  <c:v>MAY07</c:v>
                </c:pt>
                <c:pt idx="5">
                  <c:v>JUN07</c:v>
                </c:pt>
                <c:pt idx="6">
                  <c:v>JUL07</c:v>
                </c:pt>
                <c:pt idx="7">
                  <c:v>AUG07</c:v>
                </c:pt>
                <c:pt idx="8">
                  <c:v>SEP07</c:v>
                </c:pt>
                <c:pt idx="9">
                  <c:v>OCT07</c:v>
                </c:pt>
                <c:pt idx="10">
                  <c:v>NOV07</c:v>
                </c:pt>
                <c:pt idx="11">
                  <c:v>DEC07</c:v>
                </c:pt>
                <c:pt idx="12">
                  <c:v>JAN08</c:v>
                </c:pt>
                <c:pt idx="13">
                  <c:v>FEB08</c:v>
                </c:pt>
                <c:pt idx="14">
                  <c:v>MAR08</c:v>
                </c:pt>
                <c:pt idx="15">
                  <c:v>APR08</c:v>
                </c:pt>
                <c:pt idx="16">
                  <c:v>MAY08</c:v>
                </c:pt>
                <c:pt idx="17">
                  <c:v>JUN08</c:v>
                </c:pt>
                <c:pt idx="18">
                  <c:v>JUL08</c:v>
                </c:pt>
                <c:pt idx="19">
                  <c:v>AUG08</c:v>
                </c:pt>
                <c:pt idx="20">
                  <c:v>SEP08</c:v>
                </c:pt>
                <c:pt idx="21">
                  <c:v>OCT08</c:v>
                </c:pt>
                <c:pt idx="22">
                  <c:v>NOV08</c:v>
                </c:pt>
                <c:pt idx="23">
                  <c:v>DEC08</c:v>
                </c:pt>
                <c:pt idx="24">
                  <c:v>JAN09</c:v>
                </c:pt>
                <c:pt idx="25">
                  <c:v>FEB09</c:v>
                </c:pt>
                <c:pt idx="26">
                  <c:v>MAR09</c:v>
                </c:pt>
                <c:pt idx="27">
                  <c:v>APR09</c:v>
                </c:pt>
                <c:pt idx="28">
                  <c:v>MAY09</c:v>
                </c:pt>
                <c:pt idx="29">
                  <c:v>JUN09</c:v>
                </c:pt>
                <c:pt idx="30">
                  <c:v>JUL09</c:v>
                </c:pt>
                <c:pt idx="31">
                  <c:v>AUG09</c:v>
                </c:pt>
                <c:pt idx="32">
                  <c:v>SEP09</c:v>
                </c:pt>
                <c:pt idx="33">
                  <c:v>OCT09</c:v>
                </c:pt>
                <c:pt idx="34">
                  <c:v>NOV09</c:v>
                </c:pt>
                <c:pt idx="35">
                  <c:v>DEC09</c:v>
                </c:pt>
                <c:pt idx="36">
                  <c:v>JAN10</c:v>
                </c:pt>
                <c:pt idx="37">
                  <c:v>FEB10</c:v>
                </c:pt>
                <c:pt idx="38">
                  <c:v>MAR10</c:v>
                </c:pt>
                <c:pt idx="39">
                  <c:v>APR10</c:v>
                </c:pt>
                <c:pt idx="40">
                  <c:v>MAY10</c:v>
                </c:pt>
                <c:pt idx="41">
                  <c:v>JUN10</c:v>
                </c:pt>
                <c:pt idx="42">
                  <c:v>JUL10</c:v>
                </c:pt>
                <c:pt idx="43">
                  <c:v>AUG10</c:v>
                </c:pt>
                <c:pt idx="44">
                  <c:v>SEP10</c:v>
                </c:pt>
                <c:pt idx="45">
                  <c:v>OCT10</c:v>
                </c:pt>
                <c:pt idx="46">
                  <c:v>NOV10</c:v>
                </c:pt>
                <c:pt idx="47">
                  <c:v>DEC10</c:v>
                </c:pt>
                <c:pt idx="48">
                  <c:v>JAN11</c:v>
                </c:pt>
                <c:pt idx="49">
                  <c:v>FEB11</c:v>
                </c:pt>
                <c:pt idx="50">
                  <c:v>MAR11</c:v>
                </c:pt>
                <c:pt idx="51">
                  <c:v>APR11</c:v>
                </c:pt>
                <c:pt idx="52">
                  <c:v>MAY11</c:v>
                </c:pt>
                <c:pt idx="53">
                  <c:v>JUN11</c:v>
                </c:pt>
                <c:pt idx="54">
                  <c:v>JUL11</c:v>
                </c:pt>
                <c:pt idx="55">
                  <c:v>AUG11</c:v>
                </c:pt>
                <c:pt idx="56">
                  <c:v>SEP11</c:v>
                </c:pt>
                <c:pt idx="57">
                  <c:v>OCT11</c:v>
                </c:pt>
                <c:pt idx="58">
                  <c:v>NOV11</c:v>
                </c:pt>
                <c:pt idx="59">
                  <c:v>DEC11</c:v>
                </c:pt>
                <c:pt idx="60">
                  <c:v>JAN12</c:v>
                </c:pt>
                <c:pt idx="61">
                  <c:v>FEB12</c:v>
                </c:pt>
                <c:pt idx="62">
                  <c:v>MAR12</c:v>
                </c:pt>
                <c:pt idx="63">
                  <c:v>APR12</c:v>
                </c:pt>
                <c:pt idx="64">
                  <c:v>MAY12</c:v>
                </c:pt>
                <c:pt idx="65">
                  <c:v>JUN12</c:v>
                </c:pt>
                <c:pt idx="66">
                  <c:v>JUL12</c:v>
                </c:pt>
                <c:pt idx="67">
                  <c:v>AUG12</c:v>
                </c:pt>
                <c:pt idx="68">
                  <c:v>SEP12</c:v>
                </c:pt>
                <c:pt idx="69">
                  <c:v>OCT12</c:v>
                </c:pt>
                <c:pt idx="70">
                  <c:v>NOV12</c:v>
                </c:pt>
                <c:pt idx="71">
                  <c:v>DEC12</c:v>
                </c:pt>
                <c:pt idx="72">
                  <c:v>JAN13</c:v>
                </c:pt>
                <c:pt idx="73">
                  <c:v>FEB13</c:v>
                </c:pt>
                <c:pt idx="74">
                  <c:v>MAR13</c:v>
                </c:pt>
                <c:pt idx="75">
                  <c:v>APR13</c:v>
                </c:pt>
                <c:pt idx="76">
                  <c:v>MAY13</c:v>
                </c:pt>
                <c:pt idx="77">
                  <c:v>JUN13</c:v>
                </c:pt>
                <c:pt idx="78">
                  <c:v>JUL13</c:v>
                </c:pt>
                <c:pt idx="79">
                  <c:v>AUG13</c:v>
                </c:pt>
                <c:pt idx="80">
                  <c:v>SEP13</c:v>
                </c:pt>
                <c:pt idx="81">
                  <c:v>OCT13</c:v>
                </c:pt>
                <c:pt idx="82">
                  <c:v>NOV13</c:v>
                </c:pt>
                <c:pt idx="83">
                  <c:v>DEC13</c:v>
                </c:pt>
                <c:pt idx="84">
                  <c:v>JAN14</c:v>
                </c:pt>
                <c:pt idx="85">
                  <c:v>FEB14</c:v>
                </c:pt>
                <c:pt idx="86">
                  <c:v>MAR14</c:v>
                </c:pt>
                <c:pt idx="87">
                  <c:v>APR14</c:v>
                </c:pt>
                <c:pt idx="88">
                  <c:v>MAY14</c:v>
                </c:pt>
                <c:pt idx="89">
                  <c:v>JUN14</c:v>
                </c:pt>
                <c:pt idx="90">
                  <c:v>JUL14</c:v>
                </c:pt>
                <c:pt idx="91">
                  <c:v>AUG14</c:v>
                </c:pt>
                <c:pt idx="92">
                  <c:v>SEP14</c:v>
                </c:pt>
                <c:pt idx="93">
                  <c:v>OCT14</c:v>
                </c:pt>
                <c:pt idx="94">
                  <c:v>NOV14</c:v>
                </c:pt>
                <c:pt idx="95">
                  <c:v>DEC14</c:v>
                </c:pt>
                <c:pt idx="96">
                  <c:v>JAN15</c:v>
                </c:pt>
                <c:pt idx="97">
                  <c:v>FEB15</c:v>
                </c:pt>
                <c:pt idx="98">
                  <c:v>MAR15</c:v>
                </c:pt>
                <c:pt idx="99">
                  <c:v>APR15</c:v>
                </c:pt>
                <c:pt idx="100">
                  <c:v>MAY15</c:v>
                </c:pt>
                <c:pt idx="101">
                  <c:v>JUN15</c:v>
                </c:pt>
                <c:pt idx="102">
                  <c:v>JUL15</c:v>
                </c:pt>
                <c:pt idx="103">
                  <c:v>AUG15</c:v>
                </c:pt>
                <c:pt idx="104">
                  <c:v>SEP15</c:v>
                </c:pt>
                <c:pt idx="105">
                  <c:v>OCT15</c:v>
                </c:pt>
                <c:pt idx="106">
                  <c:v>NOV15</c:v>
                </c:pt>
                <c:pt idx="107">
                  <c:v>DEC15</c:v>
                </c:pt>
                <c:pt idx="108">
                  <c:v>JAN16</c:v>
                </c:pt>
                <c:pt idx="109">
                  <c:v>FEB16</c:v>
                </c:pt>
                <c:pt idx="110">
                  <c:v>MAR16</c:v>
                </c:pt>
                <c:pt idx="111">
                  <c:v>APR16</c:v>
                </c:pt>
                <c:pt idx="112">
                  <c:v>MAY16</c:v>
                </c:pt>
                <c:pt idx="113">
                  <c:v>JUN16</c:v>
                </c:pt>
                <c:pt idx="114">
                  <c:v>JUL16</c:v>
                </c:pt>
                <c:pt idx="115">
                  <c:v>AUG16</c:v>
                </c:pt>
                <c:pt idx="116">
                  <c:v>SEP16</c:v>
                </c:pt>
                <c:pt idx="117">
                  <c:v>OCT16</c:v>
                </c:pt>
                <c:pt idx="118">
                  <c:v>NOV16</c:v>
                </c:pt>
                <c:pt idx="119">
                  <c:v>DEC16</c:v>
                </c:pt>
                <c:pt idx="120">
                  <c:v>JAN17</c:v>
                </c:pt>
                <c:pt idx="121">
                  <c:v>FEB17</c:v>
                </c:pt>
                <c:pt idx="122">
                  <c:v>MAR17</c:v>
                </c:pt>
                <c:pt idx="123">
                  <c:v>APR17</c:v>
                </c:pt>
                <c:pt idx="124">
                  <c:v>MAY17</c:v>
                </c:pt>
                <c:pt idx="125">
                  <c:v>JUN17</c:v>
                </c:pt>
                <c:pt idx="126">
                  <c:v>JUL17</c:v>
                </c:pt>
                <c:pt idx="127">
                  <c:v>AUG17</c:v>
                </c:pt>
                <c:pt idx="128">
                  <c:v>SEP17</c:v>
                </c:pt>
                <c:pt idx="129">
                  <c:v>OCT17</c:v>
                </c:pt>
                <c:pt idx="130">
                  <c:v>NOV17</c:v>
                </c:pt>
                <c:pt idx="131">
                  <c:v>DEC17</c:v>
                </c:pt>
                <c:pt idx="132">
                  <c:v>JAN18</c:v>
                </c:pt>
                <c:pt idx="133">
                  <c:v>FEB18</c:v>
                </c:pt>
                <c:pt idx="134">
                  <c:v>MAR18</c:v>
                </c:pt>
              </c:strCache>
            </c:strRef>
          </c:cat>
          <c:val>
            <c:numRef>
              <c:f>'overall UZA ridership'!$B$27:$EF$27</c:f>
              <c:numCache>
                <c:formatCode>General</c:formatCode>
                <c:ptCount val="135"/>
                <c:pt idx="0">
                  <c:v>38586170.75</c:v>
                </c:pt>
                <c:pt idx="1">
                  <c:v>38532820.666666672</c:v>
                </c:pt>
                <c:pt idx="2">
                  <c:v>38499136.416666664</c:v>
                </c:pt>
                <c:pt idx="3">
                  <c:v>38551909.833333336</c:v>
                </c:pt>
                <c:pt idx="4">
                  <c:v>38596013.166666672</c:v>
                </c:pt>
                <c:pt idx="5">
                  <c:v>38664491.25</c:v>
                </c:pt>
                <c:pt idx="6">
                  <c:v>38860205.166666672</c:v>
                </c:pt>
                <c:pt idx="7">
                  <c:v>38946576.5</c:v>
                </c:pt>
                <c:pt idx="8">
                  <c:v>38944261.416666664</c:v>
                </c:pt>
                <c:pt idx="9">
                  <c:v>39172151.916666664</c:v>
                </c:pt>
                <c:pt idx="10">
                  <c:v>39252695.583333336</c:v>
                </c:pt>
                <c:pt idx="11">
                  <c:v>39221857.916666664</c:v>
                </c:pt>
                <c:pt idx="12">
                  <c:v>39267170.833333336</c:v>
                </c:pt>
                <c:pt idx="13">
                  <c:v>39468512.583333336</c:v>
                </c:pt>
                <c:pt idx="14">
                  <c:v>39406249.916666664</c:v>
                </c:pt>
                <c:pt idx="15">
                  <c:v>39684561.166666672</c:v>
                </c:pt>
                <c:pt idx="16">
                  <c:v>39718403.916666664</c:v>
                </c:pt>
                <c:pt idx="17">
                  <c:v>39826442.5</c:v>
                </c:pt>
                <c:pt idx="18">
                  <c:v>40133602</c:v>
                </c:pt>
                <c:pt idx="19">
                  <c:v>40179955.333333336</c:v>
                </c:pt>
                <c:pt idx="20">
                  <c:v>40490693.5</c:v>
                </c:pt>
                <c:pt idx="21">
                  <c:v>40600201.166666672</c:v>
                </c:pt>
                <c:pt idx="22">
                  <c:v>40470715.25</c:v>
                </c:pt>
                <c:pt idx="23">
                  <c:v>40698361.833333336</c:v>
                </c:pt>
                <c:pt idx="24">
                  <c:v>40838741.416666664</c:v>
                </c:pt>
                <c:pt idx="25">
                  <c:v>40931783.333333336</c:v>
                </c:pt>
                <c:pt idx="26">
                  <c:v>41046054.75</c:v>
                </c:pt>
                <c:pt idx="27">
                  <c:v>41102226.25</c:v>
                </c:pt>
                <c:pt idx="28">
                  <c:v>40995771.416666664</c:v>
                </c:pt>
                <c:pt idx="29">
                  <c:v>41051512.166666672</c:v>
                </c:pt>
                <c:pt idx="30">
                  <c:v>40968105.5</c:v>
                </c:pt>
                <c:pt idx="31">
                  <c:v>40840068.333333336</c:v>
                </c:pt>
                <c:pt idx="32">
                  <c:v>40755497.833333336</c:v>
                </c:pt>
                <c:pt idx="33">
                  <c:v>40578815.916666664</c:v>
                </c:pt>
                <c:pt idx="34">
                  <c:v>40607072</c:v>
                </c:pt>
                <c:pt idx="35">
                  <c:v>40454224.416666664</c:v>
                </c:pt>
                <c:pt idx="36">
                  <c:v>40199692.75</c:v>
                </c:pt>
                <c:pt idx="37">
                  <c:v>39509025.333333336</c:v>
                </c:pt>
                <c:pt idx="38">
                  <c:v>39654667.083333336</c:v>
                </c:pt>
                <c:pt idx="39">
                  <c:v>39696148.166666672</c:v>
                </c:pt>
                <c:pt idx="40">
                  <c:v>39669632.75</c:v>
                </c:pt>
                <c:pt idx="41">
                  <c:v>39652991</c:v>
                </c:pt>
                <c:pt idx="42">
                  <c:v>39495322.75</c:v>
                </c:pt>
                <c:pt idx="43">
                  <c:v>39516246.666666672</c:v>
                </c:pt>
                <c:pt idx="44">
                  <c:v>39444640.833333336</c:v>
                </c:pt>
                <c:pt idx="45">
                  <c:v>39354652.25</c:v>
                </c:pt>
                <c:pt idx="46">
                  <c:v>39404308.166666672</c:v>
                </c:pt>
                <c:pt idx="47">
                  <c:v>39350768.75</c:v>
                </c:pt>
                <c:pt idx="48">
                  <c:v>39266357.416666664</c:v>
                </c:pt>
                <c:pt idx="49">
                  <c:v>39878424.5</c:v>
                </c:pt>
                <c:pt idx="50">
                  <c:v>39874570.25</c:v>
                </c:pt>
                <c:pt idx="51">
                  <c:v>39707179</c:v>
                </c:pt>
                <c:pt idx="52">
                  <c:v>39779919.25</c:v>
                </c:pt>
                <c:pt idx="53">
                  <c:v>39810954.083333336</c:v>
                </c:pt>
                <c:pt idx="54">
                  <c:v>39745565.5</c:v>
                </c:pt>
                <c:pt idx="55">
                  <c:v>39833372.666666672</c:v>
                </c:pt>
                <c:pt idx="56">
                  <c:v>39920124.75</c:v>
                </c:pt>
                <c:pt idx="57">
                  <c:v>39945391.75</c:v>
                </c:pt>
                <c:pt idx="58">
                  <c:v>40069796.583333336</c:v>
                </c:pt>
                <c:pt idx="59">
                  <c:v>40300907.333333336</c:v>
                </c:pt>
                <c:pt idx="60">
                  <c:v>40506446</c:v>
                </c:pt>
                <c:pt idx="61">
                  <c:v>40693597.166666672</c:v>
                </c:pt>
                <c:pt idx="62">
                  <c:v>40682673.666666672</c:v>
                </c:pt>
                <c:pt idx="63">
                  <c:v>40649741.75</c:v>
                </c:pt>
                <c:pt idx="64">
                  <c:v>40778337.416666664</c:v>
                </c:pt>
                <c:pt idx="65">
                  <c:v>40678976.083333336</c:v>
                </c:pt>
                <c:pt idx="66">
                  <c:v>40656460.166666672</c:v>
                </c:pt>
                <c:pt idx="67">
                  <c:v>40643435.25</c:v>
                </c:pt>
                <c:pt idx="68">
                  <c:v>40446348.833333336</c:v>
                </c:pt>
                <c:pt idx="69">
                  <c:v>40292300.166666672</c:v>
                </c:pt>
                <c:pt idx="70">
                  <c:v>40163357.666666672</c:v>
                </c:pt>
                <c:pt idx="71">
                  <c:v>39883725.25</c:v>
                </c:pt>
                <c:pt idx="72">
                  <c:v>39943172.583333336</c:v>
                </c:pt>
                <c:pt idx="73">
                  <c:v>39745642.583333336</c:v>
                </c:pt>
                <c:pt idx="74">
                  <c:v>39443278.916666664</c:v>
                </c:pt>
                <c:pt idx="75">
                  <c:v>39582847.25</c:v>
                </c:pt>
                <c:pt idx="76">
                  <c:v>39535504.583333336</c:v>
                </c:pt>
                <c:pt idx="77">
                  <c:v>39339520.75</c:v>
                </c:pt>
                <c:pt idx="78">
                  <c:v>39441687.25</c:v>
                </c:pt>
                <c:pt idx="79">
                  <c:v>39403889.583333336</c:v>
                </c:pt>
                <c:pt idx="80">
                  <c:v>39489136</c:v>
                </c:pt>
                <c:pt idx="81">
                  <c:v>39586135.666666672</c:v>
                </c:pt>
                <c:pt idx="82">
                  <c:v>39538287.666666672</c:v>
                </c:pt>
                <c:pt idx="83">
                  <c:v>39585780.25</c:v>
                </c:pt>
                <c:pt idx="84">
                  <c:v>39333839.166666672</c:v>
                </c:pt>
                <c:pt idx="85">
                  <c:v>39148902.75</c:v>
                </c:pt>
                <c:pt idx="86">
                  <c:v>38983502.583333336</c:v>
                </c:pt>
                <c:pt idx="87">
                  <c:v>38958918.75</c:v>
                </c:pt>
                <c:pt idx="88">
                  <c:v>38916555</c:v>
                </c:pt>
                <c:pt idx="89">
                  <c:v>39017101.666666672</c:v>
                </c:pt>
                <c:pt idx="90">
                  <c:v>39048783.416666664</c:v>
                </c:pt>
                <c:pt idx="91">
                  <c:v>38988721.583333336</c:v>
                </c:pt>
                <c:pt idx="92">
                  <c:v>39089552.666666672</c:v>
                </c:pt>
                <c:pt idx="93">
                  <c:v>39276137.666666672</c:v>
                </c:pt>
                <c:pt idx="94">
                  <c:v>39161711.5</c:v>
                </c:pt>
                <c:pt idx="95">
                  <c:v>39294633.5</c:v>
                </c:pt>
                <c:pt idx="96">
                  <c:v>39256192</c:v>
                </c:pt>
                <c:pt idx="97">
                  <c:v>39138827.75</c:v>
                </c:pt>
                <c:pt idx="98">
                  <c:v>39216799.333333336</c:v>
                </c:pt>
                <c:pt idx="99">
                  <c:v>39143621.75</c:v>
                </c:pt>
                <c:pt idx="100">
                  <c:v>38968601.75</c:v>
                </c:pt>
                <c:pt idx="101">
                  <c:v>38962809.083333336</c:v>
                </c:pt>
                <c:pt idx="102">
                  <c:v>38866287.583333336</c:v>
                </c:pt>
                <c:pt idx="103">
                  <c:v>38654775</c:v>
                </c:pt>
                <c:pt idx="104">
                  <c:v>38425820.333333336</c:v>
                </c:pt>
                <c:pt idx="105">
                  <c:v>38137658.25</c:v>
                </c:pt>
                <c:pt idx="106">
                  <c:v>38036841.416666664</c:v>
                </c:pt>
                <c:pt idx="107">
                  <c:v>37893115.5</c:v>
                </c:pt>
                <c:pt idx="108">
                  <c:v>37401688.583333336</c:v>
                </c:pt>
                <c:pt idx="109">
                  <c:v>37534181.5</c:v>
                </c:pt>
                <c:pt idx="110">
                  <c:v>37564945.5</c:v>
                </c:pt>
                <c:pt idx="111">
                  <c:v>37216980.416666664</c:v>
                </c:pt>
                <c:pt idx="112">
                  <c:v>36975584.416666664</c:v>
                </c:pt>
                <c:pt idx="113">
                  <c:v>36667825.583333336</c:v>
                </c:pt>
                <c:pt idx="114">
                  <c:v>36087538.083333336</c:v>
                </c:pt>
                <c:pt idx="115">
                  <c:v>35924042.416666664</c:v>
                </c:pt>
                <c:pt idx="116">
                  <c:v>35710524.916666664</c:v>
                </c:pt>
                <c:pt idx="117">
                  <c:v>35377538</c:v>
                </c:pt>
                <c:pt idx="118">
                  <c:v>35232553.5</c:v>
                </c:pt>
                <c:pt idx="119">
                  <c:v>34902628</c:v>
                </c:pt>
                <c:pt idx="120">
                  <c:v>35177221.416666664</c:v>
                </c:pt>
                <c:pt idx="121">
                  <c:v>34943318.583333336</c:v>
                </c:pt>
                <c:pt idx="122">
                  <c:v>34656981.666666672</c:v>
                </c:pt>
                <c:pt idx="123">
                  <c:v>34379334.5</c:v>
                </c:pt>
                <c:pt idx="124">
                  <c:v>34328706.166666672</c:v>
                </c:pt>
                <c:pt idx="125">
                  <c:v>34259003.75</c:v>
                </c:pt>
                <c:pt idx="126">
                  <c:v>34140178.583333336</c:v>
                </c:pt>
                <c:pt idx="127">
                  <c:v>34069020</c:v>
                </c:pt>
                <c:pt idx="128">
                  <c:v>33915195.583333336</c:v>
                </c:pt>
                <c:pt idx="129">
                  <c:v>33939033.083333336</c:v>
                </c:pt>
                <c:pt idx="130">
                  <c:v>33911630.333333336</c:v>
                </c:pt>
                <c:pt idx="131">
                  <c:v>33763651.333333336</c:v>
                </c:pt>
                <c:pt idx="132">
                  <c:v>33564121.083333336</c:v>
                </c:pt>
                <c:pt idx="133">
                  <c:v>33387882.75</c:v>
                </c:pt>
                <c:pt idx="134">
                  <c:v>33134346.83333333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7-F6DC-40B0-A604-4A9C932C9C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3724416"/>
        <c:axId val="173725952"/>
      </c:lineChart>
      <c:catAx>
        <c:axId val="1737244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3725952"/>
        <c:crosses val="autoZero"/>
        <c:auto val="1"/>
        <c:lblAlgn val="ctr"/>
        <c:lblOffset val="100"/>
        <c:noMultiLvlLbl val="0"/>
      </c:catAx>
      <c:valAx>
        <c:axId val="1737259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 smtClean="0"/>
                  <a:t>Unlinked Passenger Trips</a:t>
                </a:r>
                <a:endParaRPr 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37244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assenger Trips per Vehicle</a:t>
            </a:r>
            <a:r>
              <a:rPr lang="en-US" baseline="0"/>
              <a:t> Revenue Hour, 12-month rolling avg, selected systems</a:t>
            </a:r>
            <a:endParaRPr lang="en-US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ummary2!$B$46</c:f>
              <c:strCache>
                <c:ptCount val="1"/>
                <c:pt idx="0">
                  <c:v>King County Metro (Seattle)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strRef>
              <c:f>Summary2!$C$1:$EJ$1</c:f>
              <c:strCache>
                <c:ptCount val="138"/>
                <c:pt idx="0">
                  <c:v>JAN07</c:v>
                </c:pt>
                <c:pt idx="1">
                  <c:v>FEB07</c:v>
                </c:pt>
                <c:pt idx="2">
                  <c:v>MAR07</c:v>
                </c:pt>
                <c:pt idx="3">
                  <c:v>APR07</c:v>
                </c:pt>
                <c:pt idx="4">
                  <c:v>MAY07</c:v>
                </c:pt>
                <c:pt idx="5">
                  <c:v>JUN07</c:v>
                </c:pt>
                <c:pt idx="6">
                  <c:v>JUL07</c:v>
                </c:pt>
                <c:pt idx="7">
                  <c:v>AUG07</c:v>
                </c:pt>
                <c:pt idx="8">
                  <c:v>SEP07</c:v>
                </c:pt>
                <c:pt idx="9">
                  <c:v>OCT07</c:v>
                </c:pt>
                <c:pt idx="10">
                  <c:v>NOV07</c:v>
                </c:pt>
                <c:pt idx="11">
                  <c:v>DEC07</c:v>
                </c:pt>
                <c:pt idx="12">
                  <c:v>JAN08</c:v>
                </c:pt>
                <c:pt idx="13">
                  <c:v>FEB08</c:v>
                </c:pt>
                <c:pt idx="14">
                  <c:v>MAR08</c:v>
                </c:pt>
                <c:pt idx="15">
                  <c:v>APR08</c:v>
                </c:pt>
                <c:pt idx="16">
                  <c:v>MAY08</c:v>
                </c:pt>
                <c:pt idx="17">
                  <c:v>JUN08</c:v>
                </c:pt>
                <c:pt idx="18">
                  <c:v>JUL08</c:v>
                </c:pt>
                <c:pt idx="19">
                  <c:v>AUG08</c:v>
                </c:pt>
                <c:pt idx="20">
                  <c:v>SEP08</c:v>
                </c:pt>
                <c:pt idx="21">
                  <c:v>OCT08</c:v>
                </c:pt>
                <c:pt idx="22">
                  <c:v>NOV08</c:v>
                </c:pt>
                <c:pt idx="23">
                  <c:v>DEC08</c:v>
                </c:pt>
                <c:pt idx="24">
                  <c:v>JAN09</c:v>
                </c:pt>
                <c:pt idx="25">
                  <c:v>FEB09</c:v>
                </c:pt>
                <c:pt idx="26">
                  <c:v>MAR09</c:v>
                </c:pt>
                <c:pt idx="27">
                  <c:v>APR09</c:v>
                </c:pt>
                <c:pt idx="28">
                  <c:v>MAY09</c:v>
                </c:pt>
                <c:pt idx="29">
                  <c:v>JUN09</c:v>
                </c:pt>
                <c:pt idx="30">
                  <c:v>JUL09</c:v>
                </c:pt>
                <c:pt idx="31">
                  <c:v>AUG09</c:v>
                </c:pt>
                <c:pt idx="32">
                  <c:v>SEP09</c:v>
                </c:pt>
                <c:pt idx="33">
                  <c:v>OCT09</c:v>
                </c:pt>
                <c:pt idx="34">
                  <c:v>NOV09</c:v>
                </c:pt>
                <c:pt idx="35">
                  <c:v>DEC09</c:v>
                </c:pt>
                <c:pt idx="36">
                  <c:v>JAN10</c:v>
                </c:pt>
                <c:pt idx="37">
                  <c:v>FEB10</c:v>
                </c:pt>
                <c:pt idx="38">
                  <c:v>MAR10</c:v>
                </c:pt>
                <c:pt idx="39">
                  <c:v>APR10</c:v>
                </c:pt>
                <c:pt idx="40">
                  <c:v>MAY10</c:v>
                </c:pt>
                <c:pt idx="41">
                  <c:v>JUN10</c:v>
                </c:pt>
                <c:pt idx="42">
                  <c:v>JUL10</c:v>
                </c:pt>
                <c:pt idx="43">
                  <c:v>AUG10</c:v>
                </c:pt>
                <c:pt idx="44">
                  <c:v>SEP10</c:v>
                </c:pt>
                <c:pt idx="45">
                  <c:v>OCT10</c:v>
                </c:pt>
                <c:pt idx="46">
                  <c:v>NOV10</c:v>
                </c:pt>
                <c:pt idx="47">
                  <c:v>DEC10</c:v>
                </c:pt>
                <c:pt idx="48">
                  <c:v>JAN11</c:v>
                </c:pt>
                <c:pt idx="49">
                  <c:v>FEB11</c:v>
                </c:pt>
                <c:pt idx="50">
                  <c:v>MAR11</c:v>
                </c:pt>
                <c:pt idx="51">
                  <c:v>APR11</c:v>
                </c:pt>
                <c:pt idx="52">
                  <c:v>MAY11</c:v>
                </c:pt>
                <c:pt idx="53">
                  <c:v>JUN11</c:v>
                </c:pt>
                <c:pt idx="54">
                  <c:v>JUL11</c:v>
                </c:pt>
                <c:pt idx="55">
                  <c:v>AUG11</c:v>
                </c:pt>
                <c:pt idx="56">
                  <c:v>SEP11</c:v>
                </c:pt>
                <c:pt idx="57">
                  <c:v>OCT11</c:v>
                </c:pt>
                <c:pt idx="58">
                  <c:v>NOV11</c:v>
                </c:pt>
                <c:pt idx="59">
                  <c:v>DEC11</c:v>
                </c:pt>
                <c:pt idx="60">
                  <c:v>JAN12</c:v>
                </c:pt>
                <c:pt idx="61">
                  <c:v>FEB12</c:v>
                </c:pt>
                <c:pt idx="62">
                  <c:v>MAR12</c:v>
                </c:pt>
                <c:pt idx="63">
                  <c:v>APR12</c:v>
                </c:pt>
                <c:pt idx="64">
                  <c:v>MAY12</c:v>
                </c:pt>
                <c:pt idx="65">
                  <c:v>JUN12</c:v>
                </c:pt>
                <c:pt idx="66">
                  <c:v>JUL12</c:v>
                </c:pt>
                <c:pt idx="67">
                  <c:v>AUG12</c:v>
                </c:pt>
                <c:pt idx="68">
                  <c:v>SEP12</c:v>
                </c:pt>
                <c:pt idx="69">
                  <c:v>OCT12</c:v>
                </c:pt>
                <c:pt idx="70">
                  <c:v>NOV12</c:v>
                </c:pt>
                <c:pt idx="71">
                  <c:v>DEC12</c:v>
                </c:pt>
                <c:pt idx="72">
                  <c:v>JAN13</c:v>
                </c:pt>
                <c:pt idx="73">
                  <c:v>FEB13</c:v>
                </c:pt>
                <c:pt idx="74">
                  <c:v>MAR13</c:v>
                </c:pt>
                <c:pt idx="75">
                  <c:v>APR13</c:v>
                </c:pt>
                <c:pt idx="76">
                  <c:v>MAY13</c:v>
                </c:pt>
                <c:pt idx="77">
                  <c:v>JUN13</c:v>
                </c:pt>
                <c:pt idx="78">
                  <c:v>JUL13</c:v>
                </c:pt>
                <c:pt idx="79">
                  <c:v>AUG13</c:v>
                </c:pt>
                <c:pt idx="80">
                  <c:v>SEP13</c:v>
                </c:pt>
                <c:pt idx="81">
                  <c:v>OCT13</c:v>
                </c:pt>
                <c:pt idx="82">
                  <c:v>NOV13</c:v>
                </c:pt>
                <c:pt idx="83">
                  <c:v>DEC13</c:v>
                </c:pt>
                <c:pt idx="84">
                  <c:v>JAN14</c:v>
                </c:pt>
                <c:pt idx="85">
                  <c:v>FEB14</c:v>
                </c:pt>
                <c:pt idx="86">
                  <c:v>MAR14</c:v>
                </c:pt>
                <c:pt idx="87">
                  <c:v>APR14</c:v>
                </c:pt>
                <c:pt idx="88">
                  <c:v>MAY14</c:v>
                </c:pt>
                <c:pt idx="89">
                  <c:v>JUN14</c:v>
                </c:pt>
                <c:pt idx="90">
                  <c:v>JUL14</c:v>
                </c:pt>
                <c:pt idx="91">
                  <c:v>AUG14</c:v>
                </c:pt>
                <c:pt idx="92">
                  <c:v>SEP14</c:v>
                </c:pt>
                <c:pt idx="93">
                  <c:v>OCT14</c:v>
                </c:pt>
                <c:pt idx="94">
                  <c:v>NOV14</c:v>
                </c:pt>
                <c:pt idx="95">
                  <c:v>DEC14</c:v>
                </c:pt>
                <c:pt idx="96">
                  <c:v>JAN15</c:v>
                </c:pt>
                <c:pt idx="97">
                  <c:v>FEB15</c:v>
                </c:pt>
                <c:pt idx="98">
                  <c:v>MAR15</c:v>
                </c:pt>
                <c:pt idx="99">
                  <c:v>APR15</c:v>
                </c:pt>
                <c:pt idx="100">
                  <c:v>MAY15</c:v>
                </c:pt>
                <c:pt idx="101">
                  <c:v>JUN15</c:v>
                </c:pt>
                <c:pt idx="102">
                  <c:v>JUL15</c:v>
                </c:pt>
                <c:pt idx="103">
                  <c:v>AUG15</c:v>
                </c:pt>
                <c:pt idx="104">
                  <c:v>SEP15</c:v>
                </c:pt>
                <c:pt idx="105">
                  <c:v>OCT15</c:v>
                </c:pt>
                <c:pt idx="106">
                  <c:v>NOV15</c:v>
                </c:pt>
                <c:pt idx="107">
                  <c:v>DEC15</c:v>
                </c:pt>
                <c:pt idx="108">
                  <c:v>JAN16</c:v>
                </c:pt>
                <c:pt idx="109">
                  <c:v>FEB16</c:v>
                </c:pt>
                <c:pt idx="110">
                  <c:v>MAR16</c:v>
                </c:pt>
                <c:pt idx="111">
                  <c:v>APR16</c:v>
                </c:pt>
                <c:pt idx="112">
                  <c:v>MAY16</c:v>
                </c:pt>
                <c:pt idx="113">
                  <c:v>JUN16</c:v>
                </c:pt>
                <c:pt idx="114">
                  <c:v>JUL16</c:v>
                </c:pt>
                <c:pt idx="115">
                  <c:v>AUG16</c:v>
                </c:pt>
                <c:pt idx="116">
                  <c:v>SEP16</c:v>
                </c:pt>
                <c:pt idx="117">
                  <c:v>OCT16</c:v>
                </c:pt>
                <c:pt idx="118">
                  <c:v>NOV16</c:v>
                </c:pt>
                <c:pt idx="119">
                  <c:v>DEC16</c:v>
                </c:pt>
                <c:pt idx="120">
                  <c:v>JAN17</c:v>
                </c:pt>
                <c:pt idx="121">
                  <c:v>FEB17</c:v>
                </c:pt>
                <c:pt idx="122">
                  <c:v>MAR17</c:v>
                </c:pt>
                <c:pt idx="123">
                  <c:v>APR17</c:v>
                </c:pt>
                <c:pt idx="124">
                  <c:v>MAY17</c:v>
                </c:pt>
                <c:pt idx="125">
                  <c:v>JUN17</c:v>
                </c:pt>
                <c:pt idx="126">
                  <c:v>JUL17</c:v>
                </c:pt>
                <c:pt idx="127">
                  <c:v>AUG17</c:v>
                </c:pt>
                <c:pt idx="128">
                  <c:v>SEP17</c:v>
                </c:pt>
                <c:pt idx="129">
                  <c:v>OCT17</c:v>
                </c:pt>
                <c:pt idx="130">
                  <c:v>NOV17</c:v>
                </c:pt>
                <c:pt idx="131">
                  <c:v>DEC17</c:v>
                </c:pt>
                <c:pt idx="132">
                  <c:v>JAN18</c:v>
                </c:pt>
                <c:pt idx="133">
                  <c:v>FEB18</c:v>
                </c:pt>
                <c:pt idx="134">
                  <c:v>MAR18</c:v>
                </c:pt>
                <c:pt idx="135">
                  <c:v>APR18</c:v>
                </c:pt>
                <c:pt idx="136">
                  <c:v>MAY18</c:v>
                </c:pt>
                <c:pt idx="137">
                  <c:v>JUN18</c:v>
                </c:pt>
              </c:strCache>
            </c:strRef>
          </c:cat>
          <c:val>
            <c:numRef>
              <c:f>Summary2!$C$46:$EJ$46</c:f>
              <c:numCache>
                <c:formatCode>General</c:formatCode>
                <c:ptCount val="138"/>
                <c:pt idx="0">
                  <c:v>32.459726457600418</c:v>
                </c:pt>
                <c:pt idx="1">
                  <c:v>32.494750139964097</c:v>
                </c:pt>
                <c:pt idx="2">
                  <c:v>32.60917231949918</c:v>
                </c:pt>
                <c:pt idx="3">
                  <c:v>32.678837449275086</c:v>
                </c:pt>
                <c:pt idx="4">
                  <c:v>32.822847520800678</c:v>
                </c:pt>
                <c:pt idx="5">
                  <c:v>32.901333397765903</c:v>
                </c:pt>
                <c:pt idx="6">
                  <c:v>32.972909544342514</c:v>
                </c:pt>
                <c:pt idx="7">
                  <c:v>33.026609961445999</c:v>
                </c:pt>
                <c:pt idx="8">
                  <c:v>33.092139996296652</c:v>
                </c:pt>
                <c:pt idx="9">
                  <c:v>33.108071301729936</c:v>
                </c:pt>
                <c:pt idx="10">
                  <c:v>33.16056181927911</c:v>
                </c:pt>
                <c:pt idx="11">
                  <c:v>33.270135420227824</c:v>
                </c:pt>
                <c:pt idx="12">
                  <c:v>33.281424286722057</c:v>
                </c:pt>
                <c:pt idx="13">
                  <c:v>33.376619722208126</c:v>
                </c:pt>
                <c:pt idx="14">
                  <c:v>33.422337401516927</c:v>
                </c:pt>
                <c:pt idx="15">
                  <c:v>33.53465185435833</c:v>
                </c:pt>
                <c:pt idx="16">
                  <c:v>33.645618044966923</c:v>
                </c:pt>
                <c:pt idx="17">
                  <c:v>33.742596255575812</c:v>
                </c:pt>
                <c:pt idx="18">
                  <c:v>33.913784077941926</c:v>
                </c:pt>
                <c:pt idx="19">
                  <c:v>34.180334619235161</c:v>
                </c:pt>
                <c:pt idx="20">
                  <c:v>34.296011952347882</c:v>
                </c:pt>
                <c:pt idx="21">
                  <c:v>34.527224545736864</c:v>
                </c:pt>
                <c:pt idx="22">
                  <c:v>34.690336272536335</c:v>
                </c:pt>
                <c:pt idx="23">
                  <c:v>34.703652374615714</c:v>
                </c:pt>
                <c:pt idx="24">
                  <c:v>34.547659002509434</c:v>
                </c:pt>
                <c:pt idx="25">
                  <c:v>34.757174290438492</c:v>
                </c:pt>
                <c:pt idx="26">
                  <c:v>34.773856681598595</c:v>
                </c:pt>
                <c:pt idx="27">
                  <c:v>34.848368855543008</c:v>
                </c:pt>
                <c:pt idx="28">
                  <c:v>34.84390690816565</c:v>
                </c:pt>
                <c:pt idx="29">
                  <c:v>34.821787757003456</c:v>
                </c:pt>
                <c:pt idx="30">
                  <c:v>34.690604883763932</c:v>
                </c:pt>
                <c:pt idx="31">
                  <c:v>34.486822847977983</c:v>
                </c:pt>
                <c:pt idx="32">
                  <c:v>34.329822201887104</c:v>
                </c:pt>
                <c:pt idx="33">
                  <c:v>34.079197148226065</c:v>
                </c:pt>
                <c:pt idx="34">
                  <c:v>33.829624131776875</c:v>
                </c:pt>
                <c:pt idx="35">
                  <c:v>33.705422656954163</c:v>
                </c:pt>
                <c:pt idx="36">
                  <c:v>33.793800400152968</c:v>
                </c:pt>
                <c:pt idx="37">
                  <c:v>33.680605364685526</c:v>
                </c:pt>
                <c:pt idx="38">
                  <c:v>33.634770081287307</c:v>
                </c:pt>
                <c:pt idx="39">
                  <c:v>33.536366249713829</c:v>
                </c:pt>
                <c:pt idx="40">
                  <c:v>33.370417444743403</c:v>
                </c:pt>
                <c:pt idx="41">
                  <c:v>33.20529493212711</c:v>
                </c:pt>
                <c:pt idx="42">
                  <c:v>33.109193769164911</c:v>
                </c:pt>
                <c:pt idx="43">
                  <c:v>32.976733903653042</c:v>
                </c:pt>
                <c:pt idx="44">
                  <c:v>32.905143435897934</c:v>
                </c:pt>
                <c:pt idx="45">
                  <c:v>32.865220090905133</c:v>
                </c:pt>
                <c:pt idx="46">
                  <c:v>32.935194671078804</c:v>
                </c:pt>
                <c:pt idx="47">
                  <c:v>32.908946675174157</c:v>
                </c:pt>
                <c:pt idx="48">
                  <c:v>32.9493424335352</c:v>
                </c:pt>
                <c:pt idx="49">
                  <c:v>32.958978854595323</c:v>
                </c:pt>
                <c:pt idx="50">
                  <c:v>33.00545539620785</c:v>
                </c:pt>
                <c:pt idx="51">
                  <c:v>33.06885812258799</c:v>
                </c:pt>
                <c:pt idx="52">
                  <c:v>33.227410636468925</c:v>
                </c:pt>
                <c:pt idx="53">
                  <c:v>33.435491700052111</c:v>
                </c:pt>
                <c:pt idx="54">
                  <c:v>33.568144086561112</c:v>
                </c:pt>
                <c:pt idx="55">
                  <c:v>33.656245646027699</c:v>
                </c:pt>
                <c:pt idx="56">
                  <c:v>33.808213455865072</c:v>
                </c:pt>
                <c:pt idx="57">
                  <c:v>33.905683462898573</c:v>
                </c:pt>
                <c:pt idx="58">
                  <c:v>33.909528364720558</c:v>
                </c:pt>
                <c:pt idx="59">
                  <c:v>34.003424300817663</c:v>
                </c:pt>
                <c:pt idx="60">
                  <c:v>34.019920128942893</c:v>
                </c:pt>
                <c:pt idx="61">
                  <c:v>33.899645885581734</c:v>
                </c:pt>
                <c:pt idx="62">
                  <c:v>33.979081449414835</c:v>
                </c:pt>
                <c:pt idx="63">
                  <c:v>33.992826121793094</c:v>
                </c:pt>
                <c:pt idx="64">
                  <c:v>34.020294466709728</c:v>
                </c:pt>
                <c:pt idx="65">
                  <c:v>34.035331955243109</c:v>
                </c:pt>
                <c:pt idx="66">
                  <c:v>34.069744369417975</c:v>
                </c:pt>
                <c:pt idx="67">
                  <c:v>34.158243962067054</c:v>
                </c:pt>
                <c:pt idx="68">
                  <c:v>34.191613685815291</c:v>
                </c:pt>
                <c:pt idx="69">
                  <c:v>34.303659790221971</c:v>
                </c:pt>
                <c:pt idx="70">
                  <c:v>34.349904434968131</c:v>
                </c:pt>
                <c:pt idx="71">
                  <c:v>34.411610315974727</c:v>
                </c:pt>
                <c:pt idx="72">
                  <c:v>34.489146384274832</c:v>
                </c:pt>
                <c:pt idx="73">
                  <c:v>34.693949567687596</c:v>
                </c:pt>
                <c:pt idx="74">
                  <c:v>34.74033573919391</c:v>
                </c:pt>
                <c:pt idx="75">
                  <c:v>34.868992230708749</c:v>
                </c:pt>
                <c:pt idx="76">
                  <c:v>34.992916011342444</c:v>
                </c:pt>
                <c:pt idx="77">
                  <c:v>35.111357631444164</c:v>
                </c:pt>
                <c:pt idx="78">
                  <c:v>35.188827128028485</c:v>
                </c:pt>
                <c:pt idx="79">
                  <c:v>35.280868979636779</c:v>
                </c:pt>
                <c:pt idx="80">
                  <c:v>35.341864632001844</c:v>
                </c:pt>
                <c:pt idx="81">
                  <c:v>35.361424225124111</c:v>
                </c:pt>
                <c:pt idx="82">
                  <c:v>35.489940060210998</c:v>
                </c:pt>
                <c:pt idx="83">
                  <c:v>35.600093671250129</c:v>
                </c:pt>
                <c:pt idx="84">
                  <c:v>35.74810701812077</c:v>
                </c:pt>
                <c:pt idx="85">
                  <c:v>35.839503900394554</c:v>
                </c:pt>
                <c:pt idx="86">
                  <c:v>35.91412293138039</c:v>
                </c:pt>
                <c:pt idx="87">
                  <c:v>35.958827055306138</c:v>
                </c:pt>
                <c:pt idx="88">
                  <c:v>35.980572257315224</c:v>
                </c:pt>
                <c:pt idx="89">
                  <c:v>36.006442078770768</c:v>
                </c:pt>
                <c:pt idx="90">
                  <c:v>36.034109671838628</c:v>
                </c:pt>
                <c:pt idx="91">
                  <c:v>36.068722907708249</c:v>
                </c:pt>
                <c:pt idx="92">
                  <c:v>36.135539121549648</c:v>
                </c:pt>
                <c:pt idx="93">
                  <c:v>36.209895070360403</c:v>
                </c:pt>
                <c:pt idx="94">
                  <c:v>36.383424579061085</c:v>
                </c:pt>
                <c:pt idx="95">
                  <c:v>36.499513072440116</c:v>
                </c:pt>
                <c:pt idx="96">
                  <c:v>36.627664201035373</c:v>
                </c:pt>
                <c:pt idx="97">
                  <c:v>36.719900438354287</c:v>
                </c:pt>
                <c:pt idx="98">
                  <c:v>36.818591448691706</c:v>
                </c:pt>
                <c:pt idx="99">
                  <c:v>36.903344853460688</c:v>
                </c:pt>
                <c:pt idx="100">
                  <c:v>36.97928520027731</c:v>
                </c:pt>
                <c:pt idx="101">
                  <c:v>37.02867720704225</c:v>
                </c:pt>
                <c:pt idx="102">
                  <c:v>37.042130138255061</c:v>
                </c:pt>
                <c:pt idx="103">
                  <c:v>37.045416314698343</c:v>
                </c:pt>
                <c:pt idx="104">
                  <c:v>37.072190969722165</c:v>
                </c:pt>
                <c:pt idx="105">
                  <c:v>36.990188580254426</c:v>
                </c:pt>
                <c:pt idx="106">
                  <c:v>36.758309066414434</c:v>
                </c:pt>
                <c:pt idx="107">
                  <c:v>36.564294087013465</c:v>
                </c:pt>
                <c:pt idx="108">
                  <c:v>36.326332699031788</c:v>
                </c:pt>
                <c:pt idx="109">
                  <c:v>36.142016478158332</c:v>
                </c:pt>
                <c:pt idx="110">
                  <c:v>35.946413702346668</c:v>
                </c:pt>
                <c:pt idx="111">
                  <c:v>35.724794173231125</c:v>
                </c:pt>
                <c:pt idx="112">
                  <c:v>35.453017990325485</c:v>
                </c:pt>
                <c:pt idx="113">
                  <c:v>35.194714910745844</c:v>
                </c:pt>
                <c:pt idx="114">
                  <c:v>35.015296641914645</c:v>
                </c:pt>
                <c:pt idx="115">
                  <c:v>34.806519286261441</c:v>
                </c:pt>
                <c:pt idx="116">
                  <c:v>34.637008513728532</c:v>
                </c:pt>
                <c:pt idx="117">
                  <c:v>34.461927245970166</c:v>
                </c:pt>
                <c:pt idx="118">
                  <c:v>34.266021528861359</c:v>
                </c:pt>
                <c:pt idx="119">
                  <c:v>34.153808321650004</c:v>
                </c:pt>
                <c:pt idx="120">
                  <c:v>34.015235971633665</c:v>
                </c:pt>
                <c:pt idx="121">
                  <c:v>33.921282805631051</c:v>
                </c:pt>
                <c:pt idx="122">
                  <c:v>33.816704634376123</c:v>
                </c:pt>
                <c:pt idx="123">
                  <c:v>33.779463847590556</c:v>
                </c:pt>
                <c:pt idx="124">
                  <c:v>33.79018362475378</c:v>
                </c:pt>
                <c:pt idx="125">
                  <c:v>33.805837415461447</c:v>
                </c:pt>
                <c:pt idx="126">
                  <c:v>33.799514923796316</c:v>
                </c:pt>
                <c:pt idx="127">
                  <c:v>33.79058156386278</c:v>
                </c:pt>
                <c:pt idx="128">
                  <c:v>33.766563699627056</c:v>
                </c:pt>
                <c:pt idx="129">
                  <c:v>33.777075260518203</c:v>
                </c:pt>
                <c:pt idx="130">
                  <c:v>33.675160438772188</c:v>
                </c:pt>
                <c:pt idx="131">
                  <c:v>33.56055859672999</c:v>
                </c:pt>
                <c:pt idx="132">
                  <c:v>33.47289963296118</c:v>
                </c:pt>
                <c:pt idx="133">
                  <c:v>33.378492267099546</c:v>
                </c:pt>
                <c:pt idx="134">
                  <c:v>33.275376065146681</c:v>
                </c:pt>
                <c:pt idx="135">
                  <c:v>33.149136863266421</c:v>
                </c:pt>
                <c:pt idx="136">
                  <c:v>33.005436259502311</c:v>
                </c:pt>
                <c:pt idx="137">
                  <c:v>32.88135129539806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8437-477C-BC33-CB1C437DD8FC}"/>
            </c:ext>
          </c:extLst>
        </c:ser>
        <c:ser>
          <c:idx val="1"/>
          <c:order val="1"/>
          <c:tx>
            <c:strRef>
              <c:f>Summary2!$B$47</c:f>
              <c:strCache>
                <c:ptCount val="1"/>
                <c:pt idx="0">
                  <c:v>TriMet (Portland, OR)</c:v>
                </c:pt>
              </c:strCache>
            </c:strRef>
          </c:tx>
          <c:spPr>
            <a:ln w="28575" cap="rnd">
              <a:solidFill>
                <a:schemeClr val="bg1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ummary2!$C$1:$EJ$1</c:f>
              <c:strCache>
                <c:ptCount val="138"/>
                <c:pt idx="0">
                  <c:v>JAN07</c:v>
                </c:pt>
                <c:pt idx="1">
                  <c:v>FEB07</c:v>
                </c:pt>
                <c:pt idx="2">
                  <c:v>MAR07</c:v>
                </c:pt>
                <c:pt idx="3">
                  <c:v>APR07</c:v>
                </c:pt>
                <c:pt idx="4">
                  <c:v>MAY07</c:v>
                </c:pt>
                <c:pt idx="5">
                  <c:v>JUN07</c:v>
                </c:pt>
                <c:pt idx="6">
                  <c:v>JUL07</c:v>
                </c:pt>
                <c:pt idx="7">
                  <c:v>AUG07</c:v>
                </c:pt>
                <c:pt idx="8">
                  <c:v>SEP07</c:v>
                </c:pt>
                <c:pt idx="9">
                  <c:v>OCT07</c:v>
                </c:pt>
                <c:pt idx="10">
                  <c:v>NOV07</c:v>
                </c:pt>
                <c:pt idx="11">
                  <c:v>DEC07</c:v>
                </c:pt>
                <c:pt idx="12">
                  <c:v>JAN08</c:v>
                </c:pt>
                <c:pt idx="13">
                  <c:v>FEB08</c:v>
                </c:pt>
                <c:pt idx="14">
                  <c:v>MAR08</c:v>
                </c:pt>
                <c:pt idx="15">
                  <c:v>APR08</c:v>
                </c:pt>
                <c:pt idx="16">
                  <c:v>MAY08</c:v>
                </c:pt>
                <c:pt idx="17">
                  <c:v>JUN08</c:v>
                </c:pt>
                <c:pt idx="18">
                  <c:v>JUL08</c:v>
                </c:pt>
                <c:pt idx="19">
                  <c:v>AUG08</c:v>
                </c:pt>
                <c:pt idx="20">
                  <c:v>SEP08</c:v>
                </c:pt>
                <c:pt idx="21">
                  <c:v>OCT08</c:v>
                </c:pt>
                <c:pt idx="22">
                  <c:v>NOV08</c:v>
                </c:pt>
                <c:pt idx="23">
                  <c:v>DEC08</c:v>
                </c:pt>
                <c:pt idx="24">
                  <c:v>JAN09</c:v>
                </c:pt>
                <c:pt idx="25">
                  <c:v>FEB09</c:v>
                </c:pt>
                <c:pt idx="26">
                  <c:v>MAR09</c:v>
                </c:pt>
                <c:pt idx="27">
                  <c:v>APR09</c:v>
                </c:pt>
                <c:pt idx="28">
                  <c:v>MAY09</c:v>
                </c:pt>
                <c:pt idx="29">
                  <c:v>JUN09</c:v>
                </c:pt>
                <c:pt idx="30">
                  <c:v>JUL09</c:v>
                </c:pt>
                <c:pt idx="31">
                  <c:v>AUG09</c:v>
                </c:pt>
                <c:pt idx="32">
                  <c:v>SEP09</c:v>
                </c:pt>
                <c:pt idx="33">
                  <c:v>OCT09</c:v>
                </c:pt>
                <c:pt idx="34">
                  <c:v>NOV09</c:v>
                </c:pt>
                <c:pt idx="35">
                  <c:v>DEC09</c:v>
                </c:pt>
                <c:pt idx="36">
                  <c:v>JAN10</c:v>
                </c:pt>
                <c:pt idx="37">
                  <c:v>FEB10</c:v>
                </c:pt>
                <c:pt idx="38">
                  <c:v>MAR10</c:v>
                </c:pt>
                <c:pt idx="39">
                  <c:v>APR10</c:v>
                </c:pt>
                <c:pt idx="40">
                  <c:v>MAY10</c:v>
                </c:pt>
                <c:pt idx="41">
                  <c:v>JUN10</c:v>
                </c:pt>
                <c:pt idx="42">
                  <c:v>JUL10</c:v>
                </c:pt>
                <c:pt idx="43">
                  <c:v>AUG10</c:v>
                </c:pt>
                <c:pt idx="44">
                  <c:v>SEP10</c:v>
                </c:pt>
                <c:pt idx="45">
                  <c:v>OCT10</c:v>
                </c:pt>
                <c:pt idx="46">
                  <c:v>NOV10</c:v>
                </c:pt>
                <c:pt idx="47">
                  <c:v>DEC10</c:v>
                </c:pt>
                <c:pt idx="48">
                  <c:v>JAN11</c:v>
                </c:pt>
                <c:pt idx="49">
                  <c:v>FEB11</c:v>
                </c:pt>
                <c:pt idx="50">
                  <c:v>MAR11</c:v>
                </c:pt>
                <c:pt idx="51">
                  <c:v>APR11</c:v>
                </c:pt>
                <c:pt idx="52">
                  <c:v>MAY11</c:v>
                </c:pt>
                <c:pt idx="53">
                  <c:v>JUN11</c:v>
                </c:pt>
                <c:pt idx="54">
                  <c:v>JUL11</c:v>
                </c:pt>
                <c:pt idx="55">
                  <c:v>AUG11</c:v>
                </c:pt>
                <c:pt idx="56">
                  <c:v>SEP11</c:v>
                </c:pt>
                <c:pt idx="57">
                  <c:v>OCT11</c:v>
                </c:pt>
                <c:pt idx="58">
                  <c:v>NOV11</c:v>
                </c:pt>
                <c:pt idx="59">
                  <c:v>DEC11</c:v>
                </c:pt>
                <c:pt idx="60">
                  <c:v>JAN12</c:v>
                </c:pt>
                <c:pt idx="61">
                  <c:v>FEB12</c:v>
                </c:pt>
                <c:pt idx="62">
                  <c:v>MAR12</c:v>
                </c:pt>
                <c:pt idx="63">
                  <c:v>APR12</c:v>
                </c:pt>
                <c:pt idx="64">
                  <c:v>MAY12</c:v>
                </c:pt>
                <c:pt idx="65">
                  <c:v>JUN12</c:v>
                </c:pt>
                <c:pt idx="66">
                  <c:v>JUL12</c:v>
                </c:pt>
                <c:pt idx="67">
                  <c:v>AUG12</c:v>
                </c:pt>
                <c:pt idx="68">
                  <c:v>SEP12</c:v>
                </c:pt>
                <c:pt idx="69">
                  <c:v>OCT12</c:v>
                </c:pt>
                <c:pt idx="70">
                  <c:v>NOV12</c:v>
                </c:pt>
                <c:pt idx="71">
                  <c:v>DEC12</c:v>
                </c:pt>
                <c:pt idx="72">
                  <c:v>JAN13</c:v>
                </c:pt>
                <c:pt idx="73">
                  <c:v>FEB13</c:v>
                </c:pt>
                <c:pt idx="74">
                  <c:v>MAR13</c:v>
                </c:pt>
                <c:pt idx="75">
                  <c:v>APR13</c:v>
                </c:pt>
                <c:pt idx="76">
                  <c:v>MAY13</c:v>
                </c:pt>
                <c:pt idx="77">
                  <c:v>JUN13</c:v>
                </c:pt>
                <c:pt idx="78">
                  <c:v>JUL13</c:v>
                </c:pt>
                <c:pt idx="79">
                  <c:v>AUG13</c:v>
                </c:pt>
                <c:pt idx="80">
                  <c:v>SEP13</c:v>
                </c:pt>
                <c:pt idx="81">
                  <c:v>OCT13</c:v>
                </c:pt>
                <c:pt idx="82">
                  <c:v>NOV13</c:v>
                </c:pt>
                <c:pt idx="83">
                  <c:v>DEC13</c:v>
                </c:pt>
                <c:pt idx="84">
                  <c:v>JAN14</c:v>
                </c:pt>
                <c:pt idx="85">
                  <c:v>FEB14</c:v>
                </c:pt>
                <c:pt idx="86">
                  <c:v>MAR14</c:v>
                </c:pt>
                <c:pt idx="87">
                  <c:v>APR14</c:v>
                </c:pt>
                <c:pt idx="88">
                  <c:v>MAY14</c:v>
                </c:pt>
                <c:pt idx="89">
                  <c:v>JUN14</c:v>
                </c:pt>
                <c:pt idx="90">
                  <c:v>JUL14</c:v>
                </c:pt>
                <c:pt idx="91">
                  <c:v>AUG14</c:v>
                </c:pt>
                <c:pt idx="92">
                  <c:v>SEP14</c:v>
                </c:pt>
                <c:pt idx="93">
                  <c:v>OCT14</c:v>
                </c:pt>
                <c:pt idx="94">
                  <c:v>NOV14</c:v>
                </c:pt>
                <c:pt idx="95">
                  <c:v>DEC14</c:v>
                </c:pt>
                <c:pt idx="96">
                  <c:v>JAN15</c:v>
                </c:pt>
                <c:pt idx="97">
                  <c:v>FEB15</c:v>
                </c:pt>
                <c:pt idx="98">
                  <c:v>MAR15</c:v>
                </c:pt>
                <c:pt idx="99">
                  <c:v>APR15</c:v>
                </c:pt>
                <c:pt idx="100">
                  <c:v>MAY15</c:v>
                </c:pt>
                <c:pt idx="101">
                  <c:v>JUN15</c:v>
                </c:pt>
                <c:pt idx="102">
                  <c:v>JUL15</c:v>
                </c:pt>
                <c:pt idx="103">
                  <c:v>AUG15</c:v>
                </c:pt>
                <c:pt idx="104">
                  <c:v>SEP15</c:v>
                </c:pt>
                <c:pt idx="105">
                  <c:v>OCT15</c:v>
                </c:pt>
                <c:pt idx="106">
                  <c:v>NOV15</c:v>
                </c:pt>
                <c:pt idx="107">
                  <c:v>DEC15</c:v>
                </c:pt>
                <c:pt idx="108">
                  <c:v>JAN16</c:v>
                </c:pt>
                <c:pt idx="109">
                  <c:v>FEB16</c:v>
                </c:pt>
                <c:pt idx="110">
                  <c:v>MAR16</c:v>
                </c:pt>
                <c:pt idx="111">
                  <c:v>APR16</c:v>
                </c:pt>
                <c:pt idx="112">
                  <c:v>MAY16</c:v>
                </c:pt>
                <c:pt idx="113">
                  <c:v>JUN16</c:v>
                </c:pt>
                <c:pt idx="114">
                  <c:v>JUL16</c:v>
                </c:pt>
                <c:pt idx="115">
                  <c:v>AUG16</c:v>
                </c:pt>
                <c:pt idx="116">
                  <c:v>SEP16</c:v>
                </c:pt>
                <c:pt idx="117">
                  <c:v>OCT16</c:v>
                </c:pt>
                <c:pt idx="118">
                  <c:v>NOV16</c:v>
                </c:pt>
                <c:pt idx="119">
                  <c:v>DEC16</c:v>
                </c:pt>
                <c:pt idx="120">
                  <c:v>JAN17</c:v>
                </c:pt>
                <c:pt idx="121">
                  <c:v>FEB17</c:v>
                </c:pt>
                <c:pt idx="122">
                  <c:v>MAR17</c:v>
                </c:pt>
                <c:pt idx="123">
                  <c:v>APR17</c:v>
                </c:pt>
                <c:pt idx="124">
                  <c:v>MAY17</c:v>
                </c:pt>
                <c:pt idx="125">
                  <c:v>JUN17</c:v>
                </c:pt>
                <c:pt idx="126">
                  <c:v>JUL17</c:v>
                </c:pt>
                <c:pt idx="127">
                  <c:v>AUG17</c:v>
                </c:pt>
                <c:pt idx="128">
                  <c:v>SEP17</c:v>
                </c:pt>
                <c:pt idx="129">
                  <c:v>OCT17</c:v>
                </c:pt>
                <c:pt idx="130">
                  <c:v>NOV17</c:v>
                </c:pt>
                <c:pt idx="131">
                  <c:v>DEC17</c:v>
                </c:pt>
                <c:pt idx="132">
                  <c:v>JAN18</c:v>
                </c:pt>
                <c:pt idx="133">
                  <c:v>FEB18</c:v>
                </c:pt>
                <c:pt idx="134">
                  <c:v>MAR18</c:v>
                </c:pt>
                <c:pt idx="135">
                  <c:v>APR18</c:v>
                </c:pt>
                <c:pt idx="136">
                  <c:v>MAY18</c:v>
                </c:pt>
                <c:pt idx="137">
                  <c:v>JUN18</c:v>
                </c:pt>
              </c:strCache>
            </c:strRef>
          </c:cat>
          <c:val>
            <c:numRef>
              <c:f>Summary2!$C$47:$EJ$47</c:f>
              <c:numCache>
                <c:formatCode>General</c:formatCode>
                <c:ptCount val="138"/>
                <c:pt idx="0">
                  <c:v>42.93689889428331</c:v>
                </c:pt>
                <c:pt idx="1">
                  <c:v>42.803343918687055</c:v>
                </c:pt>
                <c:pt idx="2">
                  <c:v>42.726268602947918</c:v>
                </c:pt>
                <c:pt idx="3">
                  <c:v>42.679317501453326</c:v>
                </c:pt>
                <c:pt idx="4">
                  <c:v>42.601554390822514</c:v>
                </c:pt>
                <c:pt idx="5">
                  <c:v>42.524281147788223</c:v>
                </c:pt>
                <c:pt idx="6">
                  <c:v>42.447975029094025</c:v>
                </c:pt>
                <c:pt idx="7">
                  <c:v>42.402891109273249</c:v>
                </c:pt>
                <c:pt idx="8">
                  <c:v>42.315833098977222</c:v>
                </c:pt>
                <c:pt idx="9">
                  <c:v>42.170680451413659</c:v>
                </c:pt>
                <c:pt idx="10">
                  <c:v>42.020640555067189</c:v>
                </c:pt>
                <c:pt idx="11">
                  <c:v>41.929110125785328</c:v>
                </c:pt>
                <c:pt idx="12">
                  <c:v>41.857464428281936</c:v>
                </c:pt>
                <c:pt idx="13">
                  <c:v>41.933922199192295</c:v>
                </c:pt>
                <c:pt idx="14">
                  <c:v>42.037114723494447</c:v>
                </c:pt>
                <c:pt idx="15">
                  <c:v>42.023290671894394</c:v>
                </c:pt>
                <c:pt idx="16">
                  <c:v>42.066351954537261</c:v>
                </c:pt>
                <c:pt idx="17">
                  <c:v>42.173900082475186</c:v>
                </c:pt>
                <c:pt idx="18">
                  <c:v>42.31812758121653</c:v>
                </c:pt>
                <c:pt idx="19">
                  <c:v>42.610917464265391</c:v>
                </c:pt>
                <c:pt idx="20">
                  <c:v>42.751858729344434</c:v>
                </c:pt>
                <c:pt idx="21">
                  <c:v>43.019764324540681</c:v>
                </c:pt>
                <c:pt idx="22">
                  <c:v>43.319425539308021</c:v>
                </c:pt>
                <c:pt idx="23">
                  <c:v>43.46807225881075</c:v>
                </c:pt>
                <c:pt idx="24">
                  <c:v>43.650639009597235</c:v>
                </c:pt>
                <c:pt idx="25">
                  <c:v>43.718326894266887</c:v>
                </c:pt>
                <c:pt idx="26">
                  <c:v>43.713434479503633</c:v>
                </c:pt>
                <c:pt idx="27">
                  <c:v>43.671350870188441</c:v>
                </c:pt>
                <c:pt idx="28">
                  <c:v>43.597216058706152</c:v>
                </c:pt>
                <c:pt idx="29">
                  <c:v>43.384919939644192</c:v>
                </c:pt>
                <c:pt idx="30">
                  <c:v>43.122915271959037</c:v>
                </c:pt>
                <c:pt idx="31">
                  <c:v>42.685341422259505</c:v>
                </c:pt>
                <c:pt idx="32">
                  <c:v>42.383078173070778</c:v>
                </c:pt>
                <c:pt idx="33">
                  <c:v>42.089639776736547</c:v>
                </c:pt>
                <c:pt idx="34">
                  <c:v>41.777377378952572</c:v>
                </c:pt>
                <c:pt idx="35">
                  <c:v>41.603748801408102</c:v>
                </c:pt>
                <c:pt idx="36">
                  <c:v>41.319367632651762</c:v>
                </c:pt>
                <c:pt idx="37">
                  <c:v>40.61973684639166</c:v>
                </c:pt>
                <c:pt idx="38">
                  <c:v>39.973915163649444</c:v>
                </c:pt>
                <c:pt idx="39">
                  <c:v>39.312552167097571</c:v>
                </c:pt>
                <c:pt idx="40">
                  <c:v>38.648055169495308</c:v>
                </c:pt>
                <c:pt idx="41">
                  <c:v>37.998402991056885</c:v>
                </c:pt>
                <c:pt idx="42">
                  <c:v>37.478542064965268</c:v>
                </c:pt>
                <c:pt idx="43">
                  <c:v>36.975001995664798</c:v>
                </c:pt>
                <c:pt idx="44">
                  <c:v>36.443419390066971</c:v>
                </c:pt>
                <c:pt idx="45">
                  <c:v>36.033061643699135</c:v>
                </c:pt>
                <c:pt idx="46">
                  <c:v>35.642677349934665</c:v>
                </c:pt>
                <c:pt idx="47">
                  <c:v>35.250808517074574</c:v>
                </c:pt>
                <c:pt idx="48">
                  <c:v>34.829271281007308</c:v>
                </c:pt>
                <c:pt idx="49">
                  <c:v>34.858452266255085</c:v>
                </c:pt>
                <c:pt idx="50">
                  <c:v>34.906833555278666</c:v>
                </c:pt>
                <c:pt idx="51">
                  <c:v>35.056443688133633</c:v>
                </c:pt>
                <c:pt idx="52">
                  <c:v>35.254399971024029</c:v>
                </c:pt>
                <c:pt idx="53">
                  <c:v>35.467003179978022</c:v>
                </c:pt>
                <c:pt idx="54">
                  <c:v>35.607156568211032</c:v>
                </c:pt>
                <c:pt idx="55">
                  <c:v>35.754225566270023</c:v>
                </c:pt>
                <c:pt idx="56">
                  <c:v>35.921000043041694</c:v>
                </c:pt>
                <c:pt idx="57">
                  <c:v>35.968691037227849</c:v>
                </c:pt>
                <c:pt idx="58">
                  <c:v>35.994221696300954</c:v>
                </c:pt>
                <c:pt idx="59">
                  <c:v>36.072087169009734</c:v>
                </c:pt>
                <c:pt idx="60">
                  <c:v>36.150385030444767</c:v>
                </c:pt>
                <c:pt idx="61">
                  <c:v>36.241514914672202</c:v>
                </c:pt>
                <c:pt idx="62">
                  <c:v>36.344651553769545</c:v>
                </c:pt>
                <c:pt idx="63">
                  <c:v>36.36474092510705</c:v>
                </c:pt>
                <c:pt idx="64">
                  <c:v>36.427034610064524</c:v>
                </c:pt>
                <c:pt idx="65">
                  <c:v>36.512561853668217</c:v>
                </c:pt>
                <c:pt idx="66">
                  <c:v>36.539436677578635</c:v>
                </c:pt>
                <c:pt idx="67">
                  <c:v>36.580875377185848</c:v>
                </c:pt>
                <c:pt idx="68">
                  <c:v>36.624974382033471</c:v>
                </c:pt>
                <c:pt idx="69">
                  <c:v>36.710264588712484</c:v>
                </c:pt>
                <c:pt idx="70">
                  <c:v>36.847816568348087</c:v>
                </c:pt>
                <c:pt idx="71">
                  <c:v>36.935412348655241</c:v>
                </c:pt>
                <c:pt idx="72">
                  <c:v>37.04843782403448</c:v>
                </c:pt>
                <c:pt idx="73">
                  <c:v>37.079469564063615</c:v>
                </c:pt>
                <c:pt idx="74">
                  <c:v>37.126512792289319</c:v>
                </c:pt>
                <c:pt idx="75">
                  <c:v>37.163095346139357</c:v>
                </c:pt>
                <c:pt idx="76">
                  <c:v>37.045226056313268</c:v>
                </c:pt>
                <c:pt idx="77">
                  <c:v>36.91392416143664</c:v>
                </c:pt>
                <c:pt idx="78">
                  <c:v>36.840356355802385</c:v>
                </c:pt>
                <c:pt idx="79">
                  <c:v>36.744541205946149</c:v>
                </c:pt>
                <c:pt idx="80">
                  <c:v>36.68495381065209</c:v>
                </c:pt>
                <c:pt idx="81">
                  <c:v>36.423040941431353</c:v>
                </c:pt>
                <c:pt idx="82">
                  <c:v>36.256424147608435</c:v>
                </c:pt>
                <c:pt idx="83">
                  <c:v>36.136873423039404</c:v>
                </c:pt>
                <c:pt idx="84">
                  <c:v>36.001758217001452</c:v>
                </c:pt>
                <c:pt idx="85">
                  <c:v>36.093348723216124</c:v>
                </c:pt>
                <c:pt idx="86">
                  <c:v>35.947708033061559</c:v>
                </c:pt>
                <c:pt idx="87">
                  <c:v>35.878543287237541</c:v>
                </c:pt>
                <c:pt idx="88">
                  <c:v>35.923566416822055</c:v>
                </c:pt>
                <c:pt idx="89">
                  <c:v>35.975979849400922</c:v>
                </c:pt>
                <c:pt idx="90">
                  <c:v>36.095203965693294</c:v>
                </c:pt>
                <c:pt idx="91">
                  <c:v>36.14865026078575</c:v>
                </c:pt>
                <c:pt idx="92">
                  <c:v>36.230916087284932</c:v>
                </c:pt>
                <c:pt idx="93">
                  <c:v>36.364098309899767</c:v>
                </c:pt>
                <c:pt idx="94">
                  <c:v>36.403124902516005</c:v>
                </c:pt>
                <c:pt idx="95">
                  <c:v>36.326196430648075</c:v>
                </c:pt>
                <c:pt idx="96">
                  <c:v>36.330322683092419</c:v>
                </c:pt>
                <c:pt idx="97">
                  <c:v>36.285653401212585</c:v>
                </c:pt>
                <c:pt idx="98">
                  <c:v>36.311139802956816</c:v>
                </c:pt>
                <c:pt idx="99">
                  <c:v>36.265110052368399</c:v>
                </c:pt>
                <c:pt idx="100">
                  <c:v>36.157318149824562</c:v>
                </c:pt>
                <c:pt idx="101">
                  <c:v>36.005798040682009</c:v>
                </c:pt>
                <c:pt idx="102">
                  <c:v>35.769075239829661</c:v>
                </c:pt>
                <c:pt idx="103">
                  <c:v>35.588155563101559</c:v>
                </c:pt>
                <c:pt idx="104">
                  <c:v>35.418686687454034</c:v>
                </c:pt>
                <c:pt idx="105">
                  <c:v>35.307270620782297</c:v>
                </c:pt>
                <c:pt idx="106">
                  <c:v>34.960605339078008</c:v>
                </c:pt>
                <c:pt idx="107">
                  <c:v>34.74209266949903</c:v>
                </c:pt>
                <c:pt idx="108">
                  <c:v>34.432773026870407</c:v>
                </c:pt>
                <c:pt idx="109">
                  <c:v>34.022683826798257</c:v>
                </c:pt>
                <c:pt idx="110">
                  <c:v>33.756951231424068</c:v>
                </c:pt>
                <c:pt idx="111">
                  <c:v>33.4660595417349</c:v>
                </c:pt>
                <c:pt idx="112">
                  <c:v>33.184189594181753</c:v>
                </c:pt>
                <c:pt idx="113">
                  <c:v>32.893874368105052</c:v>
                </c:pt>
                <c:pt idx="114">
                  <c:v>32.640528047919652</c:v>
                </c:pt>
                <c:pt idx="115">
                  <c:v>32.415104505219801</c:v>
                </c:pt>
                <c:pt idx="116">
                  <c:v>32.165686234119924</c:v>
                </c:pt>
                <c:pt idx="117">
                  <c:v>31.902816714832962</c:v>
                </c:pt>
                <c:pt idx="118">
                  <c:v>31.708349323546422</c:v>
                </c:pt>
                <c:pt idx="119">
                  <c:v>31.566251304011104</c:v>
                </c:pt>
                <c:pt idx="120">
                  <c:v>31.381027260722412</c:v>
                </c:pt>
                <c:pt idx="121">
                  <c:v>31.291927166522157</c:v>
                </c:pt>
                <c:pt idx="122">
                  <c:v>31.106751802247985</c:v>
                </c:pt>
                <c:pt idx="123">
                  <c:v>30.977821742895216</c:v>
                </c:pt>
                <c:pt idx="124">
                  <c:v>30.840508576295807</c:v>
                </c:pt>
                <c:pt idx="125">
                  <c:v>30.74705507283679</c:v>
                </c:pt>
                <c:pt idx="126">
                  <c:v>30.661263432079181</c:v>
                </c:pt>
                <c:pt idx="127">
                  <c:v>30.5558000040193</c:v>
                </c:pt>
                <c:pt idx="128">
                  <c:v>30.44104292107447</c:v>
                </c:pt>
                <c:pt idx="129">
                  <c:v>30.311820744598393</c:v>
                </c:pt>
                <c:pt idx="130">
                  <c:v>30.211630544354836</c:v>
                </c:pt>
                <c:pt idx="131">
                  <c:v>30.07205414241961</c:v>
                </c:pt>
                <c:pt idx="132">
                  <c:v>30.005911051994786</c:v>
                </c:pt>
                <c:pt idx="133">
                  <c:v>29.83490292491706</c:v>
                </c:pt>
                <c:pt idx="134">
                  <c:v>29.720919739336303</c:v>
                </c:pt>
                <c:pt idx="135">
                  <c:v>29.586483898911954</c:v>
                </c:pt>
                <c:pt idx="136">
                  <c:v>29.454727861681924</c:v>
                </c:pt>
                <c:pt idx="137">
                  <c:v>29.35410579306112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8437-477C-BC33-CB1C437DD8FC}"/>
            </c:ext>
          </c:extLst>
        </c:ser>
        <c:ser>
          <c:idx val="2"/>
          <c:order val="2"/>
          <c:tx>
            <c:strRef>
              <c:f>Summary2!$B$48</c:f>
              <c:strCache>
                <c:ptCount val="1"/>
                <c:pt idx="0">
                  <c:v>RIPTA</c:v>
                </c:pt>
              </c:strCache>
            </c:strRef>
          </c:tx>
          <c:spPr>
            <a:ln w="28575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ummary2!$C$1:$EJ$1</c:f>
              <c:strCache>
                <c:ptCount val="138"/>
                <c:pt idx="0">
                  <c:v>JAN07</c:v>
                </c:pt>
                <c:pt idx="1">
                  <c:v>FEB07</c:v>
                </c:pt>
                <c:pt idx="2">
                  <c:v>MAR07</c:v>
                </c:pt>
                <c:pt idx="3">
                  <c:v>APR07</c:v>
                </c:pt>
                <c:pt idx="4">
                  <c:v>MAY07</c:v>
                </c:pt>
                <c:pt idx="5">
                  <c:v>JUN07</c:v>
                </c:pt>
                <c:pt idx="6">
                  <c:v>JUL07</c:v>
                </c:pt>
                <c:pt idx="7">
                  <c:v>AUG07</c:v>
                </c:pt>
                <c:pt idx="8">
                  <c:v>SEP07</c:v>
                </c:pt>
                <c:pt idx="9">
                  <c:v>OCT07</c:v>
                </c:pt>
                <c:pt idx="10">
                  <c:v>NOV07</c:v>
                </c:pt>
                <c:pt idx="11">
                  <c:v>DEC07</c:v>
                </c:pt>
                <c:pt idx="12">
                  <c:v>JAN08</c:v>
                </c:pt>
                <c:pt idx="13">
                  <c:v>FEB08</c:v>
                </c:pt>
                <c:pt idx="14">
                  <c:v>MAR08</c:v>
                </c:pt>
                <c:pt idx="15">
                  <c:v>APR08</c:v>
                </c:pt>
                <c:pt idx="16">
                  <c:v>MAY08</c:v>
                </c:pt>
                <c:pt idx="17">
                  <c:v>JUN08</c:v>
                </c:pt>
                <c:pt idx="18">
                  <c:v>JUL08</c:v>
                </c:pt>
                <c:pt idx="19">
                  <c:v>AUG08</c:v>
                </c:pt>
                <c:pt idx="20">
                  <c:v>SEP08</c:v>
                </c:pt>
                <c:pt idx="21">
                  <c:v>OCT08</c:v>
                </c:pt>
                <c:pt idx="22">
                  <c:v>NOV08</c:v>
                </c:pt>
                <c:pt idx="23">
                  <c:v>DEC08</c:v>
                </c:pt>
                <c:pt idx="24">
                  <c:v>JAN09</c:v>
                </c:pt>
                <c:pt idx="25">
                  <c:v>FEB09</c:v>
                </c:pt>
                <c:pt idx="26">
                  <c:v>MAR09</c:v>
                </c:pt>
                <c:pt idx="27">
                  <c:v>APR09</c:v>
                </c:pt>
                <c:pt idx="28">
                  <c:v>MAY09</c:v>
                </c:pt>
                <c:pt idx="29">
                  <c:v>JUN09</c:v>
                </c:pt>
                <c:pt idx="30">
                  <c:v>JUL09</c:v>
                </c:pt>
                <c:pt idx="31">
                  <c:v>AUG09</c:v>
                </c:pt>
                <c:pt idx="32">
                  <c:v>SEP09</c:v>
                </c:pt>
                <c:pt idx="33">
                  <c:v>OCT09</c:v>
                </c:pt>
                <c:pt idx="34">
                  <c:v>NOV09</c:v>
                </c:pt>
                <c:pt idx="35">
                  <c:v>DEC09</c:v>
                </c:pt>
                <c:pt idx="36">
                  <c:v>JAN10</c:v>
                </c:pt>
                <c:pt idx="37">
                  <c:v>FEB10</c:v>
                </c:pt>
                <c:pt idx="38">
                  <c:v>MAR10</c:v>
                </c:pt>
                <c:pt idx="39">
                  <c:v>APR10</c:v>
                </c:pt>
                <c:pt idx="40">
                  <c:v>MAY10</c:v>
                </c:pt>
                <c:pt idx="41">
                  <c:v>JUN10</c:v>
                </c:pt>
                <c:pt idx="42">
                  <c:v>JUL10</c:v>
                </c:pt>
                <c:pt idx="43">
                  <c:v>AUG10</c:v>
                </c:pt>
                <c:pt idx="44">
                  <c:v>SEP10</c:v>
                </c:pt>
                <c:pt idx="45">
                  <c:v>OCT10</c:v>
                </c:pt>
                <c:pt idx="46">
                  <c:v>NOV10</c:v>
                </c:pt>
                <c:pt idx="47">
                  <c:v>DEC10</c:v>
                </c:pt>
                <c:pt idx="48">
                  <c:v>JAN11</c:v>
                </c:pt>
                <c:pt idx="49">
                  <c:v>FEB11</c:v>
                </c:pt>
                <c:pt idx="50">
                  <c:v>MAR11</c:v>
                </c:pt>
                <c:pt idx="51">
                  <c:v>APR11</c:v>
                </c:pt>
                <c:pt idx="52">
                  <c:v>MAY11</c:v>
                </c:pt>
                <c:pt idx="53">
                  <c:v>JUN11</c:v>
                </c:pt>
                <c:pt idx="54">
                  <c:v>JUL11</c:v>
                </c:pt>
                <c:pt idx="55">
                  <c:v>AUG11</c:v>
                </c:pt>
                <c:pt idx="56">
                  <c:v>SEP11</c:v>
                </c:pt>
                <c:pt idx="57">
                  <c:v>OCT11</c:v>
                </c:pt>
                <c:pt idx="58">
                  <c:v>NOV11</c:v>
                </c:pt>
                <c:pt idx="59">
                  <c:v>DEC11</c:v>
                </c:pt>
                <c:pt idx="60">
                  <c:v>JAN12</c:v>
                </c:pt>
                <c:pt idx="61">
                  <c:v>FEB12</c:v>
                </c:pt>
                <c:pt idx="62">
                  <c:v>MAR12</c:v>
                </c:pt>
                <c:pt idx="63">
                  <c:v>APR12</c:v>
                </c:pt>
                <c:pt idx="64">
                  <c:v>MAY12</c:v>
                </c:pt>
                <c:pt idx="65">
                  <c:v>JUN12</c:v>
                </c:pt>
                <c:pt idx="66">
                  <c:v>JUL12</c:v>
                </c:pt>
                <c:pt idx="67">
                  <c:v>AUG12</c:v>
                </c:pt>
                <c:pt idx="68">
                  <c:v>SEP12</c:v>
                </c:pt>
                <c:pt idx="69">
                  <c:v>OCT12</c:v>
                </c:pt>
                <c:pt idx="70">
                  <c:v>NOV12</c:v>
                </c:pt>
                <c:pt idx="71">
                  <c:v>DEC12</c:v>
                </c:pt>
                <c:pt idx="72">
                  <c:v>JAN13</c:v>
                </c:pt>
                <c:pt idx="73">
                  <c:v>FEB13</c:v>
                </c:pt>
                <c:pt idx="74">
                  <c:v>MAR13</c:v>
                </c:pt>
                <c:pt idx="75">
                  <c:v>APR13</c:v>
                </c:pt>
                <c:pt idx="76">
                  <c:v>MAY13</c:v>
                </c:pt>
                <c:pt idx="77">
                  <c:v>JUN13</c:v>
                </c:pt>
                <c:pt idx="78">
                  <c:v>JUL13</c:v>
                </c:pt>
                <c:pt idx="79">
                  <c:v>AUG13</c:v>
                </c:pt>
                <c:pt idx="80">
                  <c:v>SEP13</c:v>
                </c:pt>
                <c:pt idx="81">
                  <c:v>OCT13</c:v>
                </c:pt>
                <c:pt idx="82">
                  <c:v>NOV13</c:v>
                </c:pt>
                <c:pt idx="83">
                  <c:v>DEC13</c:v>
                </c:pt>
                <c:pt idx="84">
                  <c:v>JAN14</c:v>
                </c:pt>
                <c:pt idx="85">
                  <c:v>FEB14</c:v>
                </c:pt>
                <c:pt idx="86">
                  <c:v>MAR14</c:v>
                </c:pt>
                <c:pt idx="87">
                  <c:v>APR14</c:v>
                </c:pt>
                <c:pt idx="88">
                  <c:v>MAY14</c:v>
                </c:pt>
                <c:pt idx="89">
                  <c:v>JUN14</c:v>
                </c:pt>
                <c:pt idx="90">
                  <c:v>JUL14</c:v>
                </c:pt>
                <c:pt idx="91">
                  <c:v>AUG14</c:v>
                </c:pt>
                <c:pt idx="92">
                  <c:v>SEP14</c:v>
                </c:pt>
                <c:pt idx="93">
                  <c:v>OCT14</c:v>
                </c:pt>
                <c:pt idx="94">
                  <c:v>NOV14</c:v>
                </c:pt>
                <c:pt idx="95">
                  <c:v>DEC14</c:v>
                </c:pt>
                <c:pt idx="96">
                  <c:v>JAN15</c:v>
                </c:pt>
                <c:pt idx="97">
                  <c:v>FEB15</c:v>
                </c:pt>
                <c:pt idx="98">
                  <c:v>MAR15</c:v>
                </c:pt>
                <c:pt idx="99">
                  <c:v>APR15</c:v>
                </c:pt>
                <c:pt idx="100">
                  <c:v>MAY15</c:v>
                </c:pt>
                <c:pt idx="101">
                  <c:v>JUN15</c:v>
                </c:pt>
                <c:pt idx="102">
                  <c:v>JUL15</c:v>
                </c:pt>
                <c:pt idx="103">
                  <c:v>AUG15</c:v>
                </c:pt>
                <c:pt idx="104">
                  <c:v>SEP15</c:v>
                </c:pt>
                <c:pt idx="105">
                  <c:v>OCT15</c:v>
                </c:pt>
                <c:pt idx="106">
                  <c:v>NOV15</c:v>
                </c:pt>
                <c:pt idx="107">
                  <c:v>DEC15</c:v>
                </c:pt>
                <c:pt idx="108">
                  <c:v>JAN16</c:v>
                </c:pt>
                <c:pt idx="109">
                  <c:v>FEB16</c:v>
                </c:pt>
                <c:pt idx="110">
                  <c:v>MAR16</c:v>
                </c:pt>
                <c:pt idx="111">
                  <c:v>APR16</c:v>
                </c:pt>
                <c:pt idx="112">
                  <c:v>MAY16</c:v>
                </c:pt>
                <c:pt idx="113">
                  <c:v>JUN16</c:v>
                </c:pt>
                <c:pt idx="114">
                  <c:v>JUL16</c:v>
                </c:pt>
                <c:pt idx="115">
                  <c:v>AUG16</c:v>
                </c:pt>
                <c:pt idx="116">
                  <c:v>SEP16</c:v>
                </c:pt>
                <c:pt idx="117">
                  <c:v>OCT16</c:v>
                </c:pt>
                <c:pt idx="118">
                  <c:v>NOV16</c:v>
                </c:pt>
                <c:pt idx="119">
                  <c:v>DEC16</c:v>
                </c:pt>
                <c:pt idx="120">
                  <c:v>JAN17</c:v>
                </c:pt>
                <c:pt idx="121">
                  <c:v>FEB17</c:v>
                </c:pt>
                <c:pt idx="122">
                  <c:v>MAR17</c:v>
                </c:pt>
                <c:pt idx="123">
                  <c:v>APR17</c:v>
                </c:pt>
                <c:pt idx="124">
                  <c:v>MAY17</c:v>
                </c:pt>
                <c:pt idx="125">
                  <c:v>JUN17</c:v>
                </c:pt>
                <c:pt idx="126">
                  <c:v>JUL17</c:v>
                </c:pt>
                <c:pt idx="127">
                  <c:v>AUG17</c:v>
                </c:pt>
                <c:pt idx="128">
                  <c:v>SEP17</c:v>
                </c:pt>
                <c:pt idx="129">
                  <c:v>OCT17</c:v>
                </c:pt>
                <c:pt idx="130">
                  <c:v>NOV17</c:v>
                </c:pt>
                <c:pt idx="131">
                  <c:v>DEC17</c:v>
                </c:pt>
                <c:pt idx="132">
                  <c:v>JAN18</c:v>
                </c:pt>
                <c:pt idx="133">
                  <c:v>FEB18</c:v>
                </c:pt>
                <c:pt idx="134">
                  <c:v>MAR18</c:v>
                </c:pt>
                <c:pt idx="135">
                  <c:v>APR18</c:v>
                </c:pt>
                <c:pt idx="136">
                  <c:v>MAY18</c:v>
                </c:pt>
                <c:pt idx="137">
                  <c:v>JUN18</c:v>
                </c:pt>
              </c:strCache>
            </c:strRef>
          </c:cat>
          <c:val>
            <c:numRef>
              <c:f>Summary2!$C$48:$EJ$48</c:f>
              <c:numCache>
                <c:formatCode>General</c:formatCode>
                <c:ptCount val="138"/>
                <c:pt idx="0">
                  <c:v>37.981414679785303</c:v>
                </c:pt>
                <c:pt idx="1">
                  <c:v>37.890111631718177</c:v>
                </c:pt>
                <c:pt idx="2">
                  <c:v>37.845727861421949</c:v>
                </c:pt>
                <c:pt idx="3">
                  <c:v>38.09622793369838</c:v>
                </c:pt>
                <c:pt idx="4">
                  <c:v>38.192887590185414</c:v>
                </c:pt>
                <c:pt idx="5">
                  <c:v>37.36627308182301</c:v>
                </c:pt>
                <c:pt idx="6">
                  <c:v>37.043880275925815</c:v>
                </c:pt>
                <c:pt idx="7">
                  <c:v>36.580253680800709</c:v>
                </c:pt>
                <c:pt idx="8">
                  <c:v>35.943465593784673</c:v>
                </c:pt>
                <c:pt idx="9">
                  <c:v>35.665559645122336</c:v>
                </c:pt>
                <c:pt idx="10">
                  <c:v>35.222061488495427</c:v>
                </c:pt>
                <c:pt idx="11">
                  <c:v>35.454857549165929</c:v>
                </c:pt>
                <c:pt idx="12">
                  <c:v>35.447543360058546</c:v>
                </c:pt>
                <c:pt idx="13">
                  <c:v>35.172618480283624</c:v>
                </c:pt>
                <c:pt idx="14">
                  <c:v>34.850561194567092</c:v>
                </c:pt>
                <c:pt idx="15">
                  <c:v>34.607064708690004</c:v>
                </c:pt>
                <c:pt idx="16">
                  <c:v>34.604076222140506</c:v>
                </c:pt>
                <c:pt idx="17">
                  <c:v>35.275869042145963</c:v>
                </c:pt>
                <c:pt idx="18">
                  <c:v>35.346862620009603</c:v>
                </c:pt>
                <c:pt idx="19">
                  <c:v>34.912004777085031</c:v>
                </c:pt>
                <c:pt idx="20">
                  <c:v>34.681300264944262</c:v>
                </c:pt>
                <c:pt idx="21">
                  <c:v>34.227414684446543</c:v>
                </c:pt>
                <c:pt idx="22">
                  <c:v>33.907644851995741</c:v>
                </c:pt>
                <c:pt idx="23">
                  <c:v>33.155702335558423</c:v>
                </c:pt>
                <c:pt idx="24">
                  <c:v>32.15964328154945</c:v>
                </c:pt>
                <c:pt idx="25">
                  <c:v>31.353172495901134</c:v>
                </c:pt>
                <c:pt idx="26">
                  <c:v>30.955371882789613</c:v>
                </c:pt>
                <c:pt idx="27">
                  <c:v>30.287290367809739</c:v>
                </c:pt>
                <c:pt idx="28">
                  <c:v>29.563024433345653</c:v>
                </c:pt>
                <c:pt idx="29">
                  <c:v>29.017400135302847</c:v>
                </c:pt>
                <c:pt idx="30">
                  <c:v>28.42681706080921</c:v>
                </c:pt>
                <c:pt idx="31">
                  <c:v>28.152181367939807</c:v>
                </c:pt>
                <c:pt idx="32">
                  <c:v>28.055450176134176</c:v>
                </c:pt>
                <c:pt idx="33">
                  <c:v>27.915757853841622</c:v>
                </c:pt>
                <c:pt idx="34">
                  <c:v>27.73438981141755</c:v>
                </c:pt>
                <c:pt idx="35">
                  <c:v>27.61911589922029</c:v>
                </c:pt>
                <c:pt idx="36">
                  <c:v>27.622158492444996</c:v>
                </c:pt>
                <c:pt idx="37">
                  <c:v>27.736939272967945</c:v>
                </c:pt>
                <c:pt idx="38">
                  <c:v>27.620837239962491</c:v>
                </c:pt>
                <c:pt idx="39">
                  <c:v>27.602416955025571</c:v>
                </c:pt>
                <c:pt idx="40">
                  <c:v>27.601966919839825</c:v>
                </c:pt>
                <c:pt idx="41">
                  <c:v>27.548075884203502</c:v>
                </c:pt>
                <c:pt idx="42">
                  <c:v>27.647810894599104</c:v>
                </c:pt>
                <c:pt idx="43">
                  <c:v>27.723918692412166</c:v>
                </c:pt>
                <c:pt idx="44">
                  <c:v>27.775135610660836</c:v>
                </c:pt>
                <c:pt idx="45">
                  <c:v>27.623085075327776</c:v>
                </c:pt>
                <c:pt idx="46">
                  <c:v>27.592741570356242</c:v>
                </c:pt>
                <c:pt idx="47">
                  <c:v>27.650305709210546</c:v>
                </c:pt>
                <c:pt idx="48">
                  <c:v>27.637141200576952</c:v>
                </c:pt>
                <c:pt idx="49">
                  <c:v>27.410635934681402</c:v>
                </c:pt>
                <c:pt idx="50">
                  <c:v>27.392468624515775</c:v>
                </c:pt>
                <c:pt idx="51">
                  <c:v>27.46932280438579</c:v>
                </c:pt>
                <c:pt idx="52">
                  <c:v>27.510956578117057</c:v>
                </c:pt>
                <c:pt idx="53">
                  <c:v>27.54858756530038</c:v>
                </c:pt>
                <c:pt idx="54">
                  <c:v>27.570688235275696</c:v>
                </c:pt>
                <c:pt idx="55">
                  <c:v>27.851736809525082</c:v>
                </c:pt>
                <c:pt idx="56">
                  <c:v>27.834404234096183</c:v>
                </c:pt>
                <c:pt idx="57">
                  <c:v>28.168108143041113</c:v>
                </c:pt>
                <c:pt idx="58">
                  <c:v>28.401388406803193</c:v>
                </c:pt>
                <c:pt idx="59">
                  <c:v>28.662678050983125</c:v>
                </c:pt>
                <c:pt idx="60">
                  <c:v>28.98468091832299</c:v>
                </c:pt>
                <c:pt idx="61">
                  <c:v>29.335160092595075</c:v>
                </c:pt>
                <c:pt idx="62">
                  <c:v>29.657563802146857</c:v>
                </c:pt>
                <c:pt idx="63">
                  <c:v>29.878520493484366</c:v>
                </c:pt>
                <c:pt idx="64">
                  <c:v>30.053400130263498</c:v>
                </c:pt>
                <c:pt idx="65">
                  <c:v>30.747755459179793</c:v>
                </c:pt>
                <c:pt idx="66">
                  <c:v>30.790319170078298</c:v>
                </c:pt>
                <c:pt idx="67">
                  <c:v>30.831718318009898</c:v>
                </c:pt>
                <c:pt idx="68">
                  <c:v>31.14336524043464</c:v>
                </c:pt>
                <c:pt idx="69">
                  <c:v>31.292800872815953</c:v>
                </c:pt>
                <c:pt idx="70">
                  <c:v>31.452329999212157</c:v>
                </c:pt>
                <c:pt idx="71">
                  <c:v>31.464681636835898</c:v>
                </c:pt>
                <c:pt idx="72">
                  <c:v>31.650528930241027</c:v>
                </c:pt>
                <c:pt idx="73">
                  <c:v>31.893065334180015</c:v>
                </c:pt>
                <c:pt idx="74">
                  <c:v>31.904405618272087</c:v>
                </c:pt>
                <c:pt idx="75">
                  <c:v>31.978342506308483</c:v>
                </c:pt>
                <c:pt idx="76">
                  <c:v>32.137808363268299</c:v>
                </c:pt>
                <c:pt idx="77">
                  <c:v>31.766038645269699</c:v>
                </c:pt>
                <c:pt idx="78">
                  <c:v>31.938749784662683</c:v>
                </c:pt>
                <c:pt idx="79">
                  <c:v>31.911394760896957</c:v>
                </c:pt>
                <c:pt idx="80">
                  <c:v>31.855531576014688</c:v>
                </c:pt>
                <c:pt idx="81">
                  <c:v>31.857539434856918</c:v>
                </c:pt>
                <c:pt idx="82">
                  <c:v>31.909832751153395</c:v>
                </c:pt>
                <c:pt idx="83">
                  <c:v>31.952638984230838</c:v>
                </c:pt>
                <c:pt idx="84">
                  <c:v>31.825034707648598</c:v>
                </c:pt>
                <c:pt idx="85">
                  <c:v>31.558496500291838</c:v>
                </c:pt>
                <c:pt idx="86">
                  <c:v>31.414801199605243</c:v>
                </c:pt>
                <c:pt idx="87">
                  <c:v>31.312067282970862</c:v>
                </c:pt>
                <c:pt idx="88">
                  <c:v>31.269923887076679</c:v>
                </c:pt>
                <c:pt idx="89">
                  <c:v>31.249951659888492</c:v>
                </c:pt>
                <c:pt idx="90">
                  <c:v>31.225692789058083</c:v>
                </c:pt>
                <c:pt idx="91">
                  <c:v>31.01102992624179</c:v>
                </c:pt>
                <c:pt idx="92">
                  <c:v>30.820419966203126</c:v>
                </c:pt>
                <c:pt idx="93">
                  <c:v>30.611644989239263</c:v>
                </c:pt>
                <c:pt idx="94">
                  <c:v>30.32889479038057</c:v>
                </c:pt>
                <c:pt idx="95">
                  <c:v>30.048366412403137</c:v>
                </c:pt>
                <c:pt idx="96">
                  <c:v>29.714452832398806</c:v>
                </c:pt>
                <c:pt idx="97">
                  <c:v>29.347901752653673</c:v>
                </c:pt>
                <c:pt idx="98">
                  <c:v>28.875412868888542</c:v>
                </c:pt>
                <c:pt idx="99">
                  <c:v>28.498681405907853</c:v>
                </c:pt>
                <c:pt idx="100">
                  <c:v>28.113536197301226</c:v>
                </c:pt>
                <c:pt idx="101">
                  <c:v>27.741072014379373</c:v>
                </c:pt>
                <c:pt idx="102">
                  <c:v>27.431054814666421</c:v>
                </c:pt>
                <c:pt idx="103">
                  <c:v>27.231089442409221</c:v>
                </c:pt>
                <c:pt idx="104">
                  <c:v>27.035113929557632</c:v>
                </c:pt>
                <c:pt idx="105">
                  <c:v>26.86590766388543</c:v>
                </c:pt>
                <c:pt idx="106">
                  <c:v>26.68416341231827</c:v>
                </c:pt>
                <c:pt idx="107">
                  <c:v>26.664457299794321</c:v>
                </c:pt>
                <c:pt idx="108">
                  <c:v>26.704710057747828</c:v>
                </c:pt>
                <c:pt idx="109">
                  <c:v>26.783553173392374</c:v>
                </c:pt>
                <c:pt idx="110">
                  <c:v>26.940464869077346</c:v>
                </c:pt>
                <c:pt idx="111">
                  <c:v>26.911872262333727</c:v>
                </c:pt>
                <c:pt idx="112">
                  <c:v>26.737476785419091</c:v>
                </c:pt>
                <c:pt idx="113">
                  <c:v>26.590485077399009</c:v>
                </c:pt>
                <c:pt idx="114">
                  <c:v>26.45221240646444</c:v>
                </c:pt>
                <c:pt idx="115">
                  <c:v>26.290433662631308</c:v>
                </c:pt>
                <c:pt idx="116">
                  <c:v>26.100651168316247</c:v>
                </c:pt>
                <c:pt idx="117">
                  <c:v>25.89950585415049</c:v>
                </c:pt>
                <c:pt idx="118">
                  <c:v>25.677583574742517</c:v>
                </c:pt>
                <c:pt idx="119">
                  <c:v>25.507049290015605</c:v>
                </c:pt>
                <c:pt idx="120">
                  <c:v>25.258094856022105</c:v>
                </c:pt>
                <c:pt idx="121">
                  <c:v>25.136335189149765</c:v>
                </c:pt>
                <c:pt idx="122">
                  <c:v>24.971769016796831</c:v>
                </c:pt>
                <c:pt idx="123">
                  <c:v>24.70723628409446</c:v>
                </c:pt>
                <c:pt idx="124">
                  <c:v>24.554638372984041</c:v>
                </c:pt>
                <c:pt idx="125">
                  <c:v>24.352564150227899</c:v>
                </c:pt>
                <c:pt idx="126">
                  <c:v>24.136967365648626</c:v>
                </c:pt>
                <c:pt idx="127">
                  <c:v>24.001054388632806</c:v>
                </c:pt>
                <c:pt idx="128">
                  <c:v>23.934109568105029</c:v>
                </c:pt>
                <c:pt idx="129">
                  <c:v>23.835102161901581</c:v>
                </c:pt>
                <c:pt idx="130">
                  <c:v>23.813029980486075</c:v>
                </c:pt>
                <c:pt idx="131">
                  <c:v>23.743759347532983</c:v>
                </c:pt>
                <c:pt idx="132">
                  <c:v>23.700001476864909</c:v>
                </c:pt>
                <c:pt idx="133">
                  <c:v>23.577106012913223</c:v>
                </c:pt>
                <c:pt idx="134">
                  <c:v>23.761776543656627</c:v>
                </c:pt>
                <c:pt idx="135">
                  <c:v>23.777410066202858</c:v>
                </c:pt>
                <c:pt idx="136">
                  <c:v>23.824224160796916</c:v>
                </c:pt>
                <c:pt idx="137">
                  <c:v>23.97025711399771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8437-477C-BC33-CB1C437DD8FC}"/>
            </c:ext>
          </c:extLst>
        </c:ser>
        <c:ser>
          <c:idx val="3"/>
          <c:order val="3"/>
          <c:tx>
            <c:strRef>
              <c:f>Summary2!$B$49</c:f>
              <c:strCache>
                <c:ptCount val="1"/>
                <c:pt idx="0">
                  <c:v>MBTA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Summary2!$C$1:$EJ$1</c:f>
              <c:strCache>
                <c:ptCount val="138"/>
                <c:pt idx="0">
                  <c:v>JAN07</c:v>
                </c:pt>
                <c:pt idx="1">
                  <c:v>FEB07</c:v>
                </c:pt>
                <c:pt idx="2">
                  <c:v>MAR07</c:v>
                </c:pt>
                <c:pt idx="3">
                  <c:v>APR07</c:v>
                </c:pt>
                <c:pt idx="4">
                  <c:v>MAY07</c:v>
                </c:pt>
                <c:pt idx="5">
                  <c:v>JUN07</c:v>
                </c:pt>
                <c:pt idx="6">
                  <c:v>JUL07</c:v>
                </c:pt>
                <c:pt idx="7">
                  <c:v>AUG07</c:v>
                </c:pt>
                <c:pt idx="8">
                  <c:v>SEP07</c:v>
                </c:pt>
                <c:pt idx="9">
                  <c:v>OCT07</c:v>
                </c:pt>
                <c:pt idx="10">
                  <c:v>NOV07</c:v>
                </c:pt>
                <c:pt idx="11">
                  <c:v>DEC07</c:v>
                </c:pt>
                <c:pt idx="12">
                  <c:v>JAN08</c:v>
                </c:pt>
                <c:pt idx="13">
                  <c:v>FEB08</c:v>
                </c:pt>
                <c:pt idx="14">
                  <c:v>MAR08</c:v>
                </c:pt>
                <c:pt idx="15">
                  <c:v>APR08</c:v>
                </c:pt>
                <c:pt idx="16">
                  <c:v>MAY08</c:v>
                </c:pt>
                <c:pt idx="17">
                  <c:v>JUN08</c:v>
                </c:pt>
                <c:pt idx="18">
                  <c:v>JUL08</c:v>
                </c:pt>
                <c:pt idx="19">
                  <c:v>AUG08</c:v>
                </c:pt>
                <c:pt idx="20">
                  <c:v>SEP08</c:v>
                </c:pt>
                <c:pt idx="21">
                  <c:v>OCT08</c:v>
                </c:pt>
                <c:pt idx="22">
                  <c:v>NOV08</c:v>
                </c:pt>
                <c:pt idx="23">
                  <c:v>DEC08</c:v>
                </c:pt>
                <c:pt idx="24">
                  <c:v>JAN09</c:v>
                </c:pt>
                <c:pt idx="25">
                  <c:v>FEB09</c:v>
                </c:pt>
                <c:pt idx="26">
                  <c:v>MAR09</c:v>
                </c:pt>
                <c:pt idx="27">
                  <c:v>APR09</c:v>
                </c:pt>
                <c:pt idx="28">
                  <c:v>MAY09</c:v>
                </c:pt>
                <c:pt idx="29">
                  <c:v>JUN09</c:v>
                </c:pt>
                <c:pt idx="30">
                  <c:v>JUL09</c:v>
                </c:pt>
                <c:pt idx="31">
                  <c:v>AUG09</c:v>
                </c:pt>
                <c:pt idx="32">
                  <c:v>SEP09</c:v>
                </c:pt>
                <c:pt idx="33">
                  <c:v>OCT09</c:v>
                </c:pt>
                <c:pt idx="34">
                  <c:v>NOV09</c:v>
                </c:pt>
                <c:pt idx="35">
                  <c:v>DEC09</c:v>
                </c:pt>
                <c:pt idx="36">
                  <c:v>JAN10</c:v>
                </c:pt>
                <c:pt idx="37">
                  <c:v>FEB10</c:v>
                </c:pt>
                <c:pt idx="38">
                  <c:v>MAR10</c:v>
                </c:pt>
                <c:pt idx="39">
                  <c:v>APR10</c:v>
                </c:pt>
                <c:pt idx="40">
                  <c:v>MAY10</c:v>
                </c:pt>
                <c:pt idx="41">
                  <c:v>JUN10</c:v>
                </c:pt>
                <c:pt idx="42">
                  <c:v>JUL10</c:v>
                </c:pt>
                <c:pt idx="43">
                  <c:v>AUG10</c:v>
                </c:pt>
                <c:pt idx="44">
                  <c:v>SEP10</c:v>
                </c:pt>
                <c:pt idx="45">
                  <c:v>OCT10</c:v>
                </c:pt>
                <c:pt idx="46">
                  <c:v>NOV10</c:v>
                </c:pt>
                <c:pt idx="47">
                  <c:v>DEC10</c:v>
                </c:pt>
                <c:pt idx="48">
                  <c:v>JAN11</c:v>
                </c:pt>
                <c:pt idx="49">
                  <c:v>FEB11</c:v>
                </c:pt>
                <c:pt idx="50">
                  <c:v>MAR11</c:v>
                </c:pt>
                <c:pt idx="51">
                  <c:v>APR11</c:v>
                </c:pt>
                <c:pt idx="52">
                  <c:v>MAY11</c:v>
                </c:pt>
                <c:pt idx="53">
                  <c:v>JUN11</c:v>
                </c:pt>
                <c:pt idx="54">
                  <c:v>JUL11</c:v>
                </c:pt>
                <c:pt idx="55">
                  <c:v>AUG11</c:v>
                </c:pt>
                <c:pt idx="56">
                  <c:v>SEP11</c:v>
                </c:pt>
                <c:pt idx="57">
                  <c:v>OCT11</c:v>
                </c:pt>
                <c:pt idx="58">
                  <c:v>NOV11</c:v>
                </c:pt>
                <c:pt idx="59">
                  <c:v>DEC11</c:v>
                </c:pt>
                <c:pt idx="60">
                  <c:v>JAN12</c:v>
                </c:pt>
                <c:pt idx="61">
                  <c:v>FEB12</c:v>
                </c:pt>
                <c:pt idx="62">
                  <c:v>MAR12</c:v>
                </c:pt>
                <c:pt idx="63">
                  <c:v>APR12</c:v>
                </c:pt>
                <c:pt idx="64">
                  <c:v>MAY12</c:v>
                </c:pt>
                <c:pt idx="65">
                  <c:v>JUN12</c:v>
                </c:pt>
                <c:pt idx="66">
                  <c:v>JUL12</c:v>
                </c:pt>
                <c:pt idx="67">
                  <c:v>AUG12</c:v>
                </c:pt>
                <c:pt idx="68">
                  <c:v>SEP12</c:v>
                </c:pt>
                <c:pt idx="69">
                  <c:v>OCT12</c:v>
                </c:pt>
                <c:pt idx="70">
                  <c:v>NOV12</c:v>
                </c:pt>
                <c:pt idx="71">
                  <c:v>DEC12</c:v>
                </c:pt>
                <c:pt idx="72">
                  <c:v>JAN13</c:v>
                </c:pt>
                <c:pt idx="73">
                  <c:v>FEB13</c:v>
                </c:pt>
                <c:pt idx="74">
                  <c:v>MAR13</c:v>
                </c:pt>
                <c:pt idx="75">
                  <c:v>APR13</c:v>
                </c:pt>
                <c:pt idx="76">
                  <c:v>MAY13</c:v>
                </c:pt>
                <c:pt idx="77">
                  <c:v>JUN13</c:v>
                </c:pt>
                <c:pt idx="78">
                  <c:v>JUL13</c:v>
                </c:pt>
                <c:pt idx="79">
                  <c:v>AUG13</c:v>
                </c:pt>
                <c:pt idx="80">
                  <c:v>SEP13</c:v>
                </c:pt>
                <c:pt idx="81">
                  <c:v>OCT13</c:v>
                </c:pt>
                <c:pt idx="82">
                  <c:v>NOV13</c:v>
                </c:pt>
                <c:pt idx="83">
                  <c:v>DEC13</c:v>
                </c:pt>
                <c:pt idx="84">
                  <c:v>JAN14</c:v>
                </c:pt>
                <c:pt idx="85">
                  <c:v>FEB14</c:v>
                </c:pt>
                <c:pt idx="86">
                  <c:v>MAR14</c:v>
                </c:pt>
                <c:pt idx="87">
                  <c:v>APR14</c:v>
                </c:pt>
                <c:pt idx="88">
                  <c:v>MAY14</c:v>
                </c:pt>
                <c:pt idx="89">
                  <c:v>JUN14</c:v>
                </c:pt>
                <c:pt idx="90">
                  <c:v>JUL14</c:v>
                </c:pt>
                <c:pt idx="91">
                  <c:v>AUG14</c:v>
                </c:pt>
                <c:pt idx="92">
                  <c:v>SEP14</c:v>
                </c:pt>
                <c:pt idx="93">
                  <c:v>OCT14</c:v>
                </c:pt>
                <c:pt idx="94">
                  <c:v>NOV14</c:v>
                </c:pt>
                <c:pt idx="95">
                  <c:v>DEC14</c:v>
                </c:pt>
                <c:pt idx="96">
                  <c:v>JAN15</c:v>
                </c:pt>
                <c:pt idx="97">
                  <c:v>FEB15</c:v>
                </c:pt>
                <c:pt idx="98">
                  <c:v>MAR15</c:v>
                </c:pt>
                <c:pt idx="99">
                  <c:v>APR15</c:v>
                </c:pt>
                <c:pt idx="100">
                  <c:v>MAY15</c:v>
                </c:pt>
                <c:pt idx="101">
                  <c:v>JUN15</c:v>
                </c:pt>
                <c:pt idx="102">
                  <c:v>JUL15</c:v>
                </c:pt>
                <c:pt idx="103">
                  <c:v>AUG15</c:v>
                </c:pt>
                <c:pt idx="104">
                  <c:v>SEP15</c:v>
                </c:pt>
                <c:pt idx="105">
                  <c:v>OCT15</c:v>
                </c:pt>
                <c:pt idx="106">
                  <c:v>NOV15</c:v>
                </c:pt>
                <c:pt idx="107">
                  <c:v>DEC15</c:v>
                </c:pt>
                <c:pt idx="108">
                  <c:v>JAN16</c:v>
                </c:pt>
                <c:pt idx="109">
                  <c:v>FEB16</c:v>
                </c:pt>
                <c:pt idx="110">
                  <c:v>MAR16</c:v>
                </c:pt>
                <c:pt idx="111">
                  <c:v>APR16</c:v>
                </c:pt>
                <c:pt idx="112">
                  <c:v>MAY16</c:v>
                </c:pt>
                <c:pt idx="113">
                  <c:v>JUN16</c:v>
                </c:pt>
                <c:pt idx="114">
                  <c:v>JUL16</c:v>
                </c:pt>
                <c:pt idx="115">
                  <c:v>AUG16</c:v>
                </c:pt>
                <c:pt idx="116">
                  <c:v>SEP16</c:v>
                </c:pt>
                <c:pt idx="117">
                  <c:v>OCT16</c:v>
                </c:pt>
                <c:pt idx="118">
                  <c:v>NOV16</c:v>
                </c:pt>
                <c:pt idx="119">
                  <c:v>DEC16</c:v>
                </c:pt>
                <c:pt idx="120">
                  <c:v>JAN17</c:v>
                </c:pt>
                <c:pt idx="121">
                  <c:v>FEB17</c:v>
                </c:pt>
                <c:pt idx="122">
                  <c:v>MAR17</c:v>
                </c:pt>
                <c:pt idx="123">
                  <c:v>APR17</c:v>
                </c:pt>
                <c:pt idx="124">
                  <c:v>MAY17</c:v>
                </c:pt>
                <c:pt idx="125">
                  <c:v>JUN17</c:v>
                </c:pt>
                <c:pt idx="126">
                  <c:v>JUL17</c:v>
                </c:pt>
                <c:pt idx="127">
                  <c:v>AUG17</c:v>
                </c:pt>
                <c:pt idx="128">
                  <c:v>SEP17</c:v>
                </c:pt>
                <c:pt idx="129">
                  <c:v>OCT17</c:v>
                </c:pt>
                <c:pt idx="130">
                  <c:v>NOV17</c:v>
                </c:pt>
                <c:pt idx="131">
                  <c:v>DEC17</c:v>
                </c:pt>
                <c:pt idx="132">
                  <c:v>JAN18</c:v>
                </c:pt>
                <c:pt idx="133">
                  <c:v>FEB18</c:v>
                </c:pt>
                <c:pt idx="134">
                  <c:v>MAR18</c:v>
                </c:pt>
                <c:pt idx="135">
                  <c:v>APR18</c:v>
                </c:pt>
                <c:pt idx="136">
                  <c:v>MAY18</c:v>
                </c:pt>
                <c:pt idx="137">
                  <c:v>JUN18</c:v>
                </c:pt>
              </c:strCache>
            </c:strRef>
          </c:cat>
          <c:val>
            <c:numRef>
              <c:f>Summary2!$C$49:$EJ$49</c:f>
              <c:numCache>
                <c:formatCode>General</c:formatCode>
                <c:ptCount val="138"/>
                <c:pt idx="0">
                  <c:v>44.416753234048699</c:v>
                </c:pt>
                <c:pt idx="1">
                  <c:v>43.959037235122928</c:v>
                </c:pt>
                <c:pt idx="2">
                  <c:v>43.339719681767285</c:v>
                </c:pt>
                <c:pt idx="3">
                  <c:v>43.421823216008733</c:v>
                </c:pt>
                <c:pt idx="4">
                  <c:v>43.120534675786182</c:v>
                </c:pt>
                <c:pt idx="5">
                  <c:v>42.821498822159633</c:v>
                </c:pt>
                <c:pt idx="6">
                  <c:v>42.599038779090129</c:v>
                </c:pt>
                <c:pt idx="7">
                  <c:v>42.671739372242378</c:v>
                </c:pt>
                <c:pt idx="8">
                  <c:v>42.834284514852314</c:v>
                </c:pt>
                <c:pt idx="9">
                  <c:v>42.959478992175697</c:v>
                </c:pt>
                <c:pt idx="10">
                  <c:v>43.120522226753188</c:v>
                </c:pt>
                <c:pt idx="11">
                  <c:v>42.912058568054476</c:v>
                </c:pt>
                <c:pt idx="12">
                  <c:v>42.538087281205158</c:v>
                </c:pt>
                <c:pt idx="13">
                  <c:v>42.69064486415175</c:v>
                </c:pt>
                <c:pt idx="14">
                  <c:v>42.919873280822671</c:v>
                </c:pt>
                <c:pt idx="15">
                  <c:v>43.050297634455241</c:v>
                </c:pt>
                <c:pt idx="16">
                  <c:v>43.38056917779631</c:v>
                </c:pt>
                <c:pt idx="17">
                  <c:v>43.608650206596018</c:v>
                </c:pt>
                <c:pt idx="18">
                  <c:v>43.608095280986078</c:v>
                </c:pt>
                <c:pt idx="19">
                  <c:v>44.026268723086325</c:v>
                </c:pt>
                <c:pt idx="20">
                  <c:v>44.052513224892515</c:v>
                </c:pt>
                <c:pt idx="21">
                  <c:v>43.928917651589849</c:v>
                </c:pt>
                <c:pt idx="22">
                  <c:v>43.851093721121586</c:v>
                </c:pt>
                <c:pt idx="23">
                  <c:v>44.002448258632647</c:v>
                </c:pt>
                <c:pt idx="24">
                  <c:v>44.259754523375356</c:v>
                </c:pt>
                <c:pt idx="25">
                  <c:v>44.264907217108615</c:v>
                </c:pt>
                <c:pt idx="26">
                  <c:v>44.375369954886892</c:v>
                </c:pt>
                <c:pt idx="27">
                  <c:v>44.513160854143514</c:v>
                </c:pt>
                <c:pt idx="28">
                  <c:v>44.470907691376993</c:v>
                </c:pt>
                <c:pt idx="29">
                  <c:v>44.431774030567404</c:v>
                </c:pt>
                <c:pt idx="30">
                  <c:v>44.646142072585839</c:v>
                </c:pt>
                <c:pt idx="31">
                  <c:v>44.404250617214167</c:v>
                </c:pt>
                <c:pt idx="32">
                  <c:v>44.316324494277559</c:v>
                </c:pt>
                <c:pt idx="33">
                  <c:v>44.539427433781654</c:v>
                </c:pt>
                <c:pt idx="34">
                  <c:v>44.781118283223641</c:v>
                </c:pt>
                <c:pt idx="35">
                  <c:v>44.994943991999584</c:v>
                </c:pt>
                <c:pt idx="36">
                  <c:v>45.08619569084933</c:v>
                </c:pt>
                <c:pt idx="37">
                  <c:v>45.19721043569492</c:v>
                </c:pt>
                <c:pt idx="38">
                  <c:v>45.131628431105156</c:v>
                </c:pt>
                <c:pt idx="39">
                  <c:v>45.220680828763214</c:v>
                </c:pt>
                <c:pt idx="40">
                  <c:v>45.298216782452009</c:v>
                </c:pt>
                <c:pt idx="41">
                  <c:v>45.408484711542819</c:v>
                </c:pt>
                <c:pt idx="42">
                  <c:v>45.425746222359344</c:v>
                </c:pt>
                <c:pt idx="43">
                  <c:v>45.437365034345738</c:v>
                </c:pt>
                <c:pt idx="44">
                  <c:v>45.45775380644902</c:v>
                </c:pt>
                <c:pt idx="45">
                  <c:v>45.476215917272761</c:v>
                </c:pt>
                <c:pt idx="46">
                  <c:v>45.46463360309167</c:v>
                </c:pt>
                <c:pt idx="47">
                  <c:v>45.459556502903354</c:v>
                </c:pt>
                <c:pt idx="48">
                  <c:v>45.399042401975052</c:v>
                </c:pt>
                <c:pt idx="49">
                  <c:v>45.345382112178378</c:v>
                </c:pt>
                <c:pt idx="50">
                  <c:v>45.421740873212904</c:v>
                </c:pt>
                <c:pt idx="51">
                  <c:v>45.637060392614508</c:v>
                </c:pt>
                <c:pt idx="52">
                  <c:v>45.756835243506927</c:v>
                </c:pt>
                <c:pt idx="53">
                  <c:v>45.877371185285099</c:v>
                </c:pt>
                <c:pt idx="54">
                  <c:v>46.062299760890475</c:v>
                </c:pt>
                <c:pt idx="55">
                  <c:v>46.192061998820314</c:v>
                </c:pt>
                <c:pt idx="56">
                  <c:v>46.304712335806059</c:v>
                </c:pt>
                <c:pt idx="57">
                  <c:v>46.413292000340128</c:v>
                </c:pt>
                <c:pt idx="58">
                  <c:v>46.514802937803879</c:v>
                </c:pt>
                <c:pt idx="59">
                  <c:v>46.73736816671876</c:v>
                </c:pt>
                <c:pt idx="60">
                  <c:v>47.106034554335515</c:v>
                </c:pt>
                <c:pt idx="61">
                  <c:v>47.463446146338661</c:v>
                </c:pt>
                <c:pt idx="62">
                  <c:v>47.747655349281032</c:v>
                </c:pt>
                <c:pt idx="63">
                  <c:v>47.947009342348224</c:v>
                </c:pt>
                <c:pt idx="64">
                  <c:v>48.165837578961643</c:v>
                </c:pt>
                <c:pt idx="65">
                  <c:v>48.384356120273402</c:v>
                </c:pt>
                <c:pt idx="66">
                  <c:v>48.443159163980454</c:v>
                </c:pt>
                <c:pt idx="67">
                  <c:v>48.318405503827762</c:v>
                </c:pt>
                <c:pt idx="68">
                  <c:v>48.656225349012125</c:v>
                </c:pt>
                <c:pt idx="69">
                  <c:v>48.840744329029441</c:v>
                </c:pt>
                <c:pt idx="70">
                  <c:v>48.929863112738595</c:v>
                </c:pt>
                <c:pt idx="71">
                  <c:v>49.007095736688889</c:v>
                </c:pt>
                <c:pt idx="72">
                  <c:v>48.992726568730816</c:v>
                </c:pt>
                <c:pt idx="73">
                  <c:v>49.09756963199883</c:v>
                </c:pt>
                <c:pt idx="74">
                  <c:v>48.911520853686525</c:v>
                </c:pt>
                <c:pt idx="75">
                  <c:v>48.869260345261999</c:v>
                </c:pt>
                <c:pt idx="76">
                  <c:v>48.737416795581147</c:v>
                </c:pt>
                <c:pt idx="77">
                  <c:v>48.720624921842372</c:v>
                </c:pt>
                <c:pt idx="78">
                  <c:v>48.731943656706108</c:v>
                </c:pt>
                <c:pt idx="79">
                  <c:v>48.919732078373102</c:v>
                </c:pt>
                <c:pt idx="80">
                  <c:v>48.736693713268096</c:v>
                </c:pt>
                <c:pt idx="81">
                  <c:v>48.792258190806848</c:v>
                </c:pt>
                <c:pt idx="82">
                  <c:v>48.969756919669805</c:v>
                </c:pt>
                <c:pt idx="83">
                  <c:v>48.920735287208082</c:v>
                </c:pt>
                <c:pt idx="84">
                  <c:v>48.943680897551644</c:v>
                </c:pt>
                <c:pt idx="85">
                  <c:v>48.855438758514609</c:v>
                </c:pt>
                <c:pt idx="86">
                  <c:v>49.143428142967636</c:v>
                </c:pt>
                <c:pt idx="87">
                  <c:v>49.210175192014781</c:v>
                </c:pt>
                <c:pt idx="88">
                  <c:v>49.354267730459128</c:v>
                </c:pt>
                <c:pt idx="89">
                  <c:v>49.450856317780847</c:v>
                </c:pt>
                <c:pt idx="90">
                  <c:v>49.603187176543074</c:v>
                </c:pt>
                <c:pt idx="91">
                  <c:v>50.313067771828877</c:v>
                </c:pt>
                <c:pt idx="92">
                  <c:v>50.951633670689844</c:v>
                </c:pt>
                <c:pt idx="93">
                  <c:v>51.623866334575524</c:v>
                </c:pt>
                <c:pt idx="94">
                  <c:v>51.962758592374342</c:v>
                </c:pt>
                <c:pt idx="95">
                  <c:v>52.464559526867205</c:v>
                </c:pt>
                <c:pt idx="96">
                  <c:v>53.167692470916904</c:v>
                </c:pt>
                <c:pt idx="97">
                  <c:v>53.535988307753051</c:v>
                </c:pt>
                <c:pt idx="98">
                  <c:v>53.33255467127897</c:v>
                </c:pt>
                <c:pt idx="99">
                  <c:v>54.847722771433794</c:v>
                </c:pt>
                <c:pt idx="100">
                  <c:v>55.400025068928898</c:v>
                </c:pt>
                <c:pt idx="101">
                  <c:v>56.056868051632826</c:v>
                </c:pt>
                <c:pt idx="102">
                  <c:v>56.299569145972256</c:v>
                </c:pt>
                <c:pt idx="103">
                  <c:v>55.959884460036385</c:v>
                </c:pt>
                <c:pt idx="104">
                  <c:v>55.710850280623532</c:v>
                </c:pt>
                <c:pt idx="105">
                  <c:v>55.303090210021217</c:v>
                </c:pt>
                <c:pt idx="106">
                  <c:v>55.184774978851635</c:v>
                </c:pt>
                <c:pt idx="107">
                  <c:v>55.040479398666797</c:v>
                </c:pt>
                <c:pt idx="108">
                  <c:v>54.718631532622041</c:v>
                </c:pt>
                <c:pt idx="109">
                  <c:v>54.803656661038268</c:v>
                </c:pt>
                <c:pt idx="110">
                  <c:v>55.198232541053763</c:v>
                </c:pt>
                <c:pt idx="111">
                  <c:v>53.935488421935645</c:v>
                </c:pt>
                <c:pt idx="112">
                  <c:v>53.671989528130872</c:v>
                </c:pt>
                <c:pt idx="113">
                  <c:v>53.291937341070714</c:v>
                </c:pt>
                <c:pt idx="114">
                  <c:v>53.268704445583282</c:v>
                </c:pt>
                <c:pt idx="115">
                  <c:v>52.9731067980643</c:v>
                </c:pt>
                <c:pt idx="116">
                  <c:v>52.619879039912746</c:v>
                </c:pt>
                <c:pt idx="117">
                  <c:v>52.224371556200055</c:v>
                </c:pt>
                <c:pt idx="118">
                  <c:v>51.749816452166804</c:v>
                </c:pt>
                <c:pt idx="119">
                  <c:v>51.288326655531591</c:v>
                </c:pt>
                <c:pt idx="120">
                  <c:v>50.713417893456601</c:v>
                </c:pt>
                <c:pt idx="121">
                  <c:v>50.557942967979471</c:v>
                </c:pt>
                <c:pt idx="122">
                  <c:v>50.274583029739887</c:v>
                </c:pt>
                <c:pt idx="123">
                  <c:v>50.125414605396635</c:v>
                </c:pt>
                <c:pt idx="124">
                  <c:v>49.906066132107867</c:v>
                </c:pt>
                <c:pt idx="125">
                  <c:v>49.721281193851276</c:v>
                </c:pt>
                <c:pt idx="126">
                  <c:v>49.382807907897529</c:v>
                </c:pt>
                <c:pt idx="127">
                  <c:v>49.354182014947746</c:v>
                </c:pt>
                <c:pt idx="128">
                  <c:v>49.457670493844212</c:v>
                </c:pt>
                <c:pt idx="129">
                  <c:v>49.756796283551282</c:v>
                </c:pt>
                <c:pt idx="130">
                  <c:v>50.058915084919384</c:v>
                </c:pt>
                <c:pt idx="131">
                  <c:v>50.093574088340205</c:v>
                </c:pt>
                <c:pt idx="132">
                  <c:v>50.100774815621342</c:v>
                </c:pt>
                <c:pt idx="133">
                  <c:v>49.569471491834911</c:v>
                </c:pt>
                <c:pt idx="134">
                  <c:v>49.521843003265786</c:v>
                </c:pt>
                <c:pt idx="135">
                  <c:v>48.936762549098802</c:v>
                </c:pt>
                <c:pt idx="136">
                  <c:v>48.645009088597504</c:v>
                </c:pt>
                <c:pt idx="137">
                  <c:v>48.2653452729199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8437-477C-BC33-CB1C437DD8FC}"/>
            </c:ext>
          </c:extLst>
        </c:ser>
        <c:ser>
          <c:idx val="4"/>
          <c:order val="4"/>
          <c:tx>
            <c:strRef>
              <c:f>Summary2!$B$50</c:f>
              <c:strCache>
                <c:ptCount val="1"/>
                <c:pt idx="0">
                  <c:v>SEPTA (Philadelphia)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Summary2!$C$1:$EJ$1</c:f>
              <c:strCache>
                <c:ptCount val="138"/>
                <c:pt idx="0">
                  <c:v>JAN07</c:v>
                </c:pt>
                <c:pt idx="1">
                  <c:v>FEB07</c:v>
                </c:pt>
                <c:pt idx="2">
                  <c:v>MAR07</c:v>
                </c:pt>
                <c:pt idx="3">
                  <c:v>APR07</c:v>
                </c:pt>
                <c:pt idx="4">
                  <c:v>MAY07</c:v>
                </c:pt>
                <c:pt idx="5">
                  <c:v>JUN07</c:v>
                </c:pt>
                <c:pt idx="6">
                  <c:v>JUL07</c:v>
                </c:pt>
                <c:pt idx="7">
                  <c:v>AUG07</c:v>
                </c:pt>
                <c:pt idx="8">
                  <c:v>SEP07</c:v>
                </c:pt>
                <c:pt idx="9">
                  <c:v>OCT07</c:v>
                </c:pt>
                <c:pt idx="10">
                  <c:v>NOV07</c:v>
                </c:pt>
                <c:pt idx="11">
                  <c:v>DEC07</c:v>
                </c:pt>
                <c:pt idx="12">
                  <c:v>JAN08</c:v>
                </c:pt>
                <c:pt idx="13">
                  <c:v>FEB08</c:v>
                </c:pt>
                <c:pt idx="14">
                  <c:v>MAR08</c:v>
                </c:pt>
                <c:pt idx="15">
                  <c:v>APR08</c:v>
                </c:pt>
                <c:pt idx="16">
                  <c:v>MAY08</c:v>
                </c:pt>
                <c:pt idx="17">
                  <c:v>JUN08</c:v>
                </c:pt>
                <c:pt idx="18">
                  <c:v>JUL08</c:v>
                </c:pt>
                <c:pt idx="19">
                  <c:v>AUG08</c:v>
                </c:pt>
                <c:pt idx="20">
                  <c:v>SEP08</c:v>
                </c:pt>
                <c:pt idx="21">
                  <c:v>OCT08</c:v>
                </c:pt>
                <c:pt idx="22">
                  <c:v>NOV08</c:v>
                </c:pt>
                <c:pt idx="23">
                  <c:v>DEC08</c:v>
                </c:pt>
                <c:pt idx="24">
                  <c:v>JAN09</c:v>
                </c:pt>
                <c:pt idx="25">
                  <c:v>FEB09</c:v>
                </c:pt>
                <c:pt idx="26">
                  <c:v>MAR09</c:v>
                </c:pt>
                <c:pt idx="27">
                  <c:v>APR09</c:v>
                </c:pt>
                <c:pt idx="28">
                  <c:v>MAY09</c:v>
                </c:pt>
                <c:pt idx="29">
                  <c:v>JUN09</c:v>
                </c:pt>
                <c:pt idx="30">
                  <c:v>JUL09</c:v>
                </c:pt>
                <c:pt idx="31">
                  <c:v>AUG09</c:v>
                </c:pt>
                <c:pt idx="32">
                  <c:v>SEP09</c:v>
                </c:pt>
                <c:pt idx="33">
                  <c:v>OCT09</c:v>
                </c:pt>
                <c:pt idx="34">
                  <c:v>NOV09</c:v>
                </c:pt>
                <c:pt idx="35">
                  <c:v>DEC09</c:v>
                </c:pt>
                <c:pt idx="36">
                  <c:v>JAN10</c:v>
                </c:pt>
                <c:pt idx="37">
                  <c:v>FEB10</c:v>
                </c:pt>
                <c:pt idx="38">
                  <c:v>MAR10</c:v>
                </c:pt>
                <c:pt idx="39">
                  <c:v>APR10</c:v>
                </c:pt>
                <c:pt idx="40">
                  <c:v>MAY10</c:v>
                </c:pt>
                <c:pt idx="41">
                  <c:v>JUN10</c:v>
                </c:pt>
                <c:pt idx="42">
                  <c:v>JUL10</c:v>
                </c:pt>
                <c:pt idx="43">
                  <c:v>AUG10</c:v>
                </c:pt>
                <c:pt idx="44">
                  <c:v>SEP10</c:v>
                </c:pt>
                <c:pt idx="45">
                  <c:v>OCT10</c:v>
                </c:pt>
                <c:pt idx="46">
                  <c:v>NOV10</c:v>
                </c:pt>
                <c:pt idx="47">
                  <c:v>DEC10</c:v>
                </c:pt>
                <c:pt idx="48">
                  <c:v>JAN11</c:v>
                </c:pt>
                <c:pt idx="49">
                  <c:v>FEB11</c:v>
                </c:pt>
                <c:pt idx="50">
                  <c:v>MAR11</c:v>
                </c:pt>
                <c:pt idx="51">
                  <c:v>APR11</c:v>
                </c:pt>
                <c:pt idx="52">
                  <c:v>MAY11</c:v>
                </c:pt>
                <c:pt idx="53">
                  <c:v>JUN11</c:v>
                </c:pt>
                <c:pt idx="54">
                  <c:v>JUL11</c:v>
                </c:pt>
                <c:pt idx="55">
                  <c:v>AUG11</c:v>
                </c:pt>
                <c:pt idx="56">
                  <c:v>SEP11</c:v>
                </c:pt>
                <c:pt idx="57">
                  <c:v>OCT11</c:v>
                </c:pt>
                <c:pt idx="58">
                  <c:v>NOV11</c:v>
                </c:pt>
                <c:pt idx="59">
                  <c:v>DEC11</c:v>
                </c:pt>
                <c:pt idx="60">
                  <c:v>JAN12</c:v>
                </c:pt>
                <c:pt idx="61">
                  <c:v>FEB12</c:v>
                </c:pt>
                <c:pt idx="62">
                  <c:v>MAR12</c:v>
                </c:pt>
                <c:pt idx="63">
                  <c:v>APR12</c:v>
                </c:pt>
                <c:pt idx="64">
                  <c:v>MAY12</c:v>
                </c:pt>
                <c:pt idx="65">
                  <c:v>JUN12</c:v>
                </c:pt>
                <c:pt idx="66">
                  <c:v>JUL12</c:v>
                </c:pt>
                <c:pt idx="67">
                  <c:v>AUG12</c:v>
                </c:pt>
                <c:pt idx="68">
                  <c:v>SEP12</c:v>
                </c:pt>
                <c:pt idx="69">
                  <c:v>OCT12</c:v>
                </c:pt>
                <c:pt idx="70">
                  <c:v>NOV12</c:v>
                </c:pt>
                <c:pt idx="71">
                  <c:v>DEC12</c:v>
                </c:pt>
                <c:pt idx="72">
                  <c:v>JAN13</c:v>
                </c:pt>
                <c:pt idx="73">
                  <c:v>FEB13</c:v>
                </c:pt>
                <c:pt idx="74">
                  <c:v>MAR13</c:v>
                </c:pt>
                <c:pt idx="75">
                  <c:v>APR13</c:v>
                </c:pt>
                <c:pt idx="76">
                  <c:v>MAY13</c:v>
                </c:pt>
                <c:pt idx="77">
                  <c:v>JUN13</c:v>
                </c:pt>
                <c:pt idx="78">
                  <c:v>JUL13</c:v>
                </c:pt>
                <c:pt idx="79">
                  <c:v>AUG13</c:v>
                </c:pt>
                <c:pt idx="80">
                  <c:v>SEP13</c:v>
                </c:pt>
                <c:pt idx="81">
                  <c:v>OCT13</c:v>
                </c:pt>
                <c:pt idx="82">
                  <c:v>NOV13</c:v>
                </c:pt>
                <c:pt idx="83">
                  <c:v>DEC13</c:v>
                </c:pt>
                <c:pt idx="84">
                  <c:v>JAN14</c:v>
                </c:pt>
                <c:pt idx="85">
                  <c:v>FEB14</c:v>
                </c:pt>
                <c:pt idx="86">
                  <c:v>MAR14</c:v>
                </c:pt>
                <c:pt idx="87">
                  <c:v>APR14</c:v>
                </c:pt>
                <c:pt idx="88">
                  <c:v>MAY14</c:v>
                </c:pt>
                <c:pt idx="89">
                  <c:v>JUN14</c:v>
                </c:pt>
                <c:pt idx="90">
                  <c:v>JUL14</c:v>
                </c:pt>
                <c:pt idx="91">
                  <c:v>AUG14</c:v>
                </c:pt>
                <c:pt idx="92">
                  <c:v>SEP14</c:v>
                </c:pt>
                <c:pt idx="93">
                  <c:v>OCT14</c:v>
                </c:pt>
                <c:pt idx="94">
                  <c:v>NOV14</c:v>
                </c:pt>
                <c:pt idx="95">
                  <c:v>DEC14</c:v>
                </c:pt>
                <c:pt idx="96">
                  <c:v>JAN15</c:v>
                </c:pt>
                <c:pt idx="97">
                  <c:v>FEB15</c:v>
                </c:pt>
                <c:pt idx="98">
                  <c:v>MAR15</c:v>
                </c:pt>
                <c:pt idx="99">
                  <c:v>APR15</c:v>
                </c:pt>
                <c:pt idx="100">
                  <c:v>MAY15</c:v>
                </c:pt>
                <c:pt idx="101">
                  <c:v>JUN15</c:v>
                </c:pt>
                <c:pt idx="102">
                  <c:v>JUL15</c:v>
                </c:pt>
                <c:pt idx="103">
                  <c:v>AUG15</c:v>
                </c:pt>
                <c:pt idx="104">
                  <c:v>SEP15</c:v>
                </c:pt>
                <c:pt idx="105">
                  <c:v>OCT15</c:v>
                </c:pt>
                <c:pt idx="106">
                  <c:v>NOV15</c:v>
                </c:pt>
                <c:pt idx="107">
                  <c:v>DEC15</c:v>
                </c:pt>
                <c:pt idx="108">
                  <c:v>JAN16</c:v>
                </c:pt>
                <c:pt idx="109">
                  <c:v>FEB16</c:v>
                </c:pt>
                <c:pt idx="110">
                  <c:v>MAR16</c:v>
                </c:pt>
                <c:pt idx="111">
                  <c:v>APR16</c:v>
                </c:pt>
                <c:pt idx="112">
                  <c:v>MAY16</c:v>
                </c:pt>
                <c:pt idx="113">
                  <c:v>JUN16</c:v>
                </c:pt>
                <c:pt idx="114">
                  <c:v>JUL16</c:v>
                </c:pt>
                <c:pt idx="115">
                  <c:v>AUG16</c:v>
                </c:pt>
                <c:pt idx="116">
                  <c:v>SEP16</c:v>
                </c:pt>
                <c:pt idx="117">
                  <c:v>OCT16</c:v>
                </c:pt>
                <c:pt idx="118">
                  <c:v>NOV16</c:v>
                </c:pt>
                <c:pt idx="119">
                  <c:v>DEC16</c:v>
                </c:pt>
                <c:pt idx="120">
                  <c:v>JAN17</c:v>
                </c:pt>
                <c:pt idx="121">
                  <c:v>FEB17</c:v>
                </c:pt>
                <c:pt idx="122">
                  <c:v>MAR17</c:v>
                </c:pt>
                <c:pt idx="123">
                  <c:v>APR17</c:v>
                </c:pt>
                <c:pt idx="124">
                  <c:v>MAY17</c:v>
                </c:pt>
                <c:pt idx="125">
                  <c:v>JUN17</c:v>
                </c:pt>
                <c:pt idx="126">
                  <c:v>JUL17</c:v>
                </c:pt>
                <c:pt idx="127">
                  <c:v>AUG17</c:v>
                </c:pt>
                <c:pt idx="128">
                  <c:v>SEP17</c:v>
                </c:pt>
                <c:pt idx="129">
                  <c:v>OCT17</c:v>
                </c:pt>
                <c:pt idx="130">
                  <c:v>NOV17</c:v>
                </c:pt>
                <c:pt idx="131">
                  <c:v>DEC17</c:v>
                </c:pt>
                <c:pt idx="132">
                  <c:v>JAN18</c:v>
                </c:pt>
                <c:pt idx="133">
                  <c:v>FEB18</c:v>
                </c:pt>
                <c:pt idx="134">
                  <c:v>MAR18</c:v>
                </c:pt>
                <c:pt idx="135">
                  <c:v>APR18</c:v>
                </c:pt>
                <c:pt idx="136">
                  <c:v>MAY18</c:v>
                </c:pt>
                <c:pt idx="137">
                  <c:v>JUN18</c:v>
                </c:pt>
              </c:strCache>
            </c:strRef>
          </c:cat>
          <c:val>
            <c:numRef>
              <c:f>Summary2!$C$50:$EJ$50</c:f>
              <c:numCache>
                <c:formatCode>General</c:formatCode>
                <c:ptCount val="138"/>
                <c:pt idx="0">
                  <c:v>45.096708992139419</c:v>
                </c:pt>
                <c:pt idx="1">
                  <c:v>45.075747254787224</c:v>
                </c:pt>
                <c:pt idx="2">
                  <c:v>44.909734132412659</c:v>
                </c:pt>
                <c:pt idx="3">
                  <c:v>44.666364339692663</c:v>
                </c:pt>
                <c:pt idx="4">
                  <c:v>44.436556155502828</c:v>
                </c:pt>
                <c:pt idx="5">
                  <c:v>44.226120859209452</c:v>
                </c:pt>
                <c:pt idx="6">
                  <c:v>44.006484902541928</c:v>
                </c:pt>
                <c:pt idx="7">
                  <c:v>43.904136387814347</c:v>
                </c:pt>
                <c:pt idx="8">
                  <c:v>43.796679085777335</c:v>
                </c:pt>
                <c:pt idx="9">
                  <c:v>43.446997842497666</c:v>
                </c:pt>
                <c:pt idx="10">
                  <c:v>43.215757364890742</c:v>
                </c:pt>
                <c:pt idx="11">
                  <c:v>43.070864478976034</c:v>
                </c:pt>
                <c:pt idx="12">
                  <c:v>42.787628607238396</c:v>
                </c:pt>
                <c:pt idx="13">
                  <c:v>42.730957369760297</c:v>
                </c:pt>
                <c:pt idx="14">
                  <c:v>42.897301565110794</c:v>
                </c:pt>
                <c:pt idx="15">
                  <c:v>42.554467032318357</c:v>
                </c:pt>
                <c:pt idx="16">
                  <c:v>42.630590796135145</c:v>
                </c:pt>
                <c:pt idx="17">
                  <c:v>42.440870371094583</c:v>
                </c:pt>
                <c:pt idx="18">
                  <c:v>42.32189184122727</c:v>
                </c:pt>
                <c:pt idx="19">
                  <c:v>42.353982744370803</c:v>
                </c:pt>
                <c:pt idx="20">
                  <c:v>42.331013536142358</c:v>
                </c:pt>
                <c:pt idx="21">
                  <c:v>42.44488127257673</c:v>
                </c:pt>
                <c:pt idx="22">
                  <c:v>42.421613877414323</c:v>
                </c:pt>
                <c:pt idx="23">
                  <c:v>42.157022589615615</c:v>
                </c:pt>
                <c:pt idx="24">
                  <c:v>41.984022191810602</c:v>
                </c:pt>
                <c:pt idx="25">
                  <c:v>41.759996596729813</c:v>
                </c:pt>
                <c:pt idx="26">
                  <c:v>41.611688479636847</c:v>
                </c:pt>
                <c:pt idx="27">
                  <c:v>41.700337840578193</c:v>
                </c:pt>
                <c:pt idx="28">
                  <c:v>41.336388834420248</c:v>
                </c:pt>
                <c:pt idx="29">
                  <c:v>41.282421118754506</c:v>
                </c:pt>
                <c:pt idx="30">
                  <c:v>41.192599858887959</c:v>
                </c:pt>
                <c:pt idx="31">
                  <c:v>40.945284867898167</c:v>
                </c:pt>
                <c:pt idx="32">
                  <c:v>40.693846522903712</c:v>
                </c:pt>
                <c:pt idx="33">
                  <c:v>40.519531005236452</c:v>
                </c:pt>
                <c:pt idx="34">
                  <c:v>40.417884998956168</c:v>
                </c:pt>
                <c:pt idx="35">
                  <c:v>40.303445556368267</c:v>
                </c:pt>
                <c:pt idx="36">
                  <c:v>40.119650233490766</c:v>
                </c:pt>
                <c:pt idx="37">
                  <c:v>39.958769428689507</c:v>
                </c:pt>
                <c:pt idx="38">
                  <c:v>39.784655581289201</c:v>
                </c:pt>
                <c:pt idx="39">
                  <c:v>39.749660322336197</c:v>
                </c:pt>
                <c:pt idx="40">
                  <c:v>39.945184617132163</c:v>
                </c:pt>
                <c:pt idx="41">
                  <c:v>39.974423389140945</c:v>
                </c:pt>
                <c:pt idx="42">
                  <c:v>40.047114542233892</c:v>
                </c:pt>
                <c:pt idx="43">
                  <c:v>40.023989007712927</c:v>
                </c:pt>
                <c:pt idx="44">
                  <c:v>40.068616429007577</c:v>
                </c:pt>
                <c:pt idx="45">
                  <c:v>40.093752680016209</c:v>
                </c:pt>
                <c:pt idx="46">
                  <c:v>40.055668885796443</c:v>
                </c:pt>
                <c:pt idx="47">
                  <c:v>40.237154498564557</c:v>
                </c:pt>
                <c:pt idx="48">
                  <c:v>40.32818902234802</c:v>
                </c:pt>
                <c:pt idx="49">
                  <c:v>40.571442858684755</c:v>
                </c:pt>
                <c:pt idx="50">
                  <c:v>40.674348103821579</c:v>
                </c:pt>
                <c:pt idx="51">
                  <c:v>40.838359765984521</c:v>
                </c:pt>
                <c:pt idx="52">
                  <c:v>40.832463422872927</c:v>
                </c:pt>
                <c:pt idx="53">
                  <c:v>40.830708088520005</c:v>
                </c:pt>
                <c:pt idx="54">
                  <c:v>40.779753008790962</c:v>
                </c:pt>
                <c:pt idx="55">
                  <c:v>40.677529859339081</c:v>
                </c:pt>
                <c:pt idx="56">
                  <c:v>40.75830613990184</c:v>
                </c:pt>
                <c:pt idx="57">
                  <c:v>40.834689094547258</c:v>
                </c:pt>
                <c:pt idx="58">
                  <c:v>41.059608120075723</c:v>
                </c:pt>
                <c:pt idx="59">
                  <c:v>41.068895238440611</c:v>
                </c:pt>
                <c:pt idx="60">
                  <c:v>41.246787068137976</c:v>
                </c:pt>
                <c:pt idx="61">
                  <c:v>41.282772701902999</c:v>
                </c:pt>
                <c:pt idx="62">
                  <c:v>41.348077640583426</c:v>
                </c:pt>
                <c:pt idx="63">
                  <c:v>41.23571988791597</c:v>
                </c:pt>
                <c:pt idx="64">
                  <c:v>41.291559210496686</c:v>
                </c:pt>
                <c:pt idx="65">
                  <c:v>41.24694572926456</c:v>
                </c:pt>
                <c:pt idx="66">
                  <c:v>41.423178798534778</c:v>
                </c:pt>
                <c:pt idx="67">
                  <c:v>42.032783283485614</c:v>
                </c:pt>
                <c:pt idx="68">
                  <c:v>42.531317033675521</c:v>
                </c:pt>
                <c:pt idx="69">
                  <c:v>43.132017452273296</c:v>
                </c:pt>
                <c:pt idx="70">
                  <c:v>43.71610457785129</c:v>
                </c:pt>
                <c:pt idx="71">
                  <c:v>44.200823601789082</c:v>
                </c:pt>
                <c:pt idx="72">
                  <c:v>44.60633552240985</c:v>
                </c:pt>
                <c:pt idx="73">
                  <c:v>45.073978189416543</c:v>
                </c:pt>
                <c:pt idx="74">
                  <c:v>45.521426511544014</c:v>
                </c:pt>
                <c:pt idx="75">
                  <c:v>46.049476617137906</c:v>
                </c:pt>
                <c:pt idx="76">
                  <c:v>46.618280022202001</c:v>
                </c:pt>
                <c:pt idx="77">
                  <c:v>47.325172608479242</c:v>
                </c:pt>
                <c:pt idx="78">
                  <c:v>47.628227751013227</c:v>
                </c:pt>
                <c:pt idx="79">
                  <c:v>47.41933121170257</c:v>
                </c:pt>
                <c:pt idx="80">
                  <c:v>47.233255899028677</c:v>
                </c:pt>
                <c:pt idx="81">
                  <c:v>46.976384813918607</c:v>
                </c:pt>
                <c:pt idx="82">
                  <c:v>46.651609134064572</c:v>
                </c:pt>
                <c:pt idx="83">
                  <c:v>46.483494093025776</c:v>
                </c:pt>
                <c:pt idx="84">
                  <c:v>46.317940257621991</c:v>
                </c:pt>
                <c:pt idx="85">
                  <c:v>46.029032311099144</c:v>
                </c:pt>
                <c:pt idx="86">
                  <c:v>45.786893140485709</c:v>
                </c:pt>
                <c:pt idx="87">
                  <c:v>45.605004489761605</c:v>
                </c:pt>
                <c:pt idx="88">
                  <c:v>45.281761298991576</c:v>
                </c:pt>
                <c:pt idx="89">
                  <c:v>44.859505510587191</c:v>
                </c:pt>
                <c:pt idx="90">
                  <c:v>44.669403913544564</c:v>
                </c:pt>
                <c:pt idx="91">
                  <c:v>44.55393581887293</c:v>
                </c:pt>
                <c:pt idx="92">
                  <c:v>44.562326825594234</c:v>
                </c:pt>
                <c:pt idx="93">
                  <c:v>44.308783622537277</c:v>
                </c:pt>
                <c:pt idx="94">
                  <c:v>44.365143728749473</c:v>
                </c:pt>
                <c:pt idx="95">
                  <c:v>44.236939049363222</c:v>
                </c:pt>
                <c:pt idx="96">
                  <c:v>44.117164283122811</c:v>
                </c:pt>
                <c:pt idx="97">
                  <c:v>44.12339047446649</c:v>
                </c:pt>
                <c:pt idx="98">
                  <c:v>43.885711411858182</c:v>
                </c:pt>
                <c:pt idx="99">
                  <c:v>43.727680943130721</c:v>
                </c:pt>
                <c:pt idx="100">
                  <c:v>43.619807283963048</c:v>
                </c:pt>
                <c:pt idx="101">
                  <c:v>43.641153929854532</c:v>
                </c:pt>
                <c:pt idx="102">
                  <c:v>43.557285907984493</c:v>
                </c:pt>
                <c:pt idx="103">
                  <c:v>43.951576328452695</c:v>
                </c:pt>
                <c:pt idx="104">
                  <c:v>44.030214587938111</c:v>
                </c:pt>
                <c:pt idx="105">
                  <c:v>44.321545867968382</c:v>
                </c:pt>
                <c:pt idx="106">
                  <c:v>44.279795983071701</c:v>
                </c:pt>
                <c:pt idx="107">
                  <c:v>44.514795242982508</c:v>
                </c:pt>
                <c:pt idx="108">
                  <c:v>44.872790756581658</c:v>
                </c:pt>
                <c:pt idx="109">
                  <c:v>45.081406177266281</c:v>
                </c:pt>
                <c:pt idx="110">
                  <c:v>45.440080235924697</c:v>
                </c:pt>
                <c:pt idx="111">
                  <c:v>45.61586664320793</c:v>
                </c:pt>
                <c:pt idx="112">
                  <c:v>45.925057685232701</c:v>
                </c:pt>
                <c:pt idx="113">
                  <c:v>45.892597129918279</c:v>
                </c:pt>
                <c:pt idx="114">
                  <c:v>46.012165129268524</c:v>
                </c:pt>
                <c:pt idx="115">
                  <c:v>45.410388414542602</c:v>
                </c:pt>
                <c:pt idx="116">
                  <c:v>45.241430715483865</c:v>
                </c:pt>
                <c:pt idx="117">
                  <c:v>44.95227134256352</c:v>
                </c:pt>
                <c:pt idx="118">
                  <c:v>44.621823975954335</c:v>
                </c:pt>
                <c:pt idx="119">
                  <c:v>43.98422591580303</c:v>
                </c:pt>
                <c:pt idx="120">
                  <c:v>43.460715536449328</c:v>
                </c:pt>
                <c:pt idx="121">
                  <c:v>42.898953522889308</c:v>
                </c:pt>
                <c:pt idx="122">
                  <c:v>42.421771511838195</c:v>
                </c:pt>
                <c:pt idx="123">
                  <c:v>42.052617484663642</c:v>
                </c:pt>
                <c:pt idx="124">
                  <c:v>41.449791136024011</c:v>
                </c:pt>
                <c:pt idx="125">
                  <c:v>41.081535390273572</c:v>
                </c:pt>
                <c:pt idx="126">
                  <c:v>40.993250164552038</c:v>
                </c:pt>
                <c:pt idx="127">
                  <c:v>40.593744294465203</c:v>
                </c:pt>
                <c:pt idx="128">
                  <c:v>40.052020594875323</c:v>
                </c:pt>
                <c:pt idx="129">
                  <c:v>39.575820028888621</c:v>
                </c:pt>
                <c:pt idx="130">
                  <c:v>39.152202311195957</c:v>
                </c:pt>
                <c:pt idx="131">
                  <c:v>38.968458192891681</c:v>
                </c:pt>
                <c:pt idx="132">
                  <c:v>38.371239134129084</c:v>
                </c:pt>
                <c:pt idx="133">
                  <c:v>37.810322023844847</c:v>
                </c:pt>
                <c:pt idx="134">
                  <c:v>37.357599138740099</c:v>
                </c:pt>
                <c:pt idx="135">
                  <c:v>36.698083991025911</c:v>
                </c:pt>
                <c:pt idx="136">
                  <c:v>36.231347385181863</c:v>
                </c:pt>
                <c:pt idx="137">
                  <c:v>35.57942260703817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8437-477C-BC33-CB1C437DD8FC}"/>
            </c:ext>
          </c:extLst>
        </c:ser>
        <c:ser>
          <c:idx val="6"/>
          <c:order val="5"/>
          <c:tx>
            <c:strRef>
              <c:f>Summary2!$B$52</c:f>
              <c:strCache>
                <c:ptCount val="1"/>
                <c:pt idx="0">
                  <c:v>WMATA (Washington, DC)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ummary2!$C$1:$EJ$1</c:f>
              <c:strCache>
                <c:ptCount val="138"/>
                <c:pt idx="0">
                  <c:v>JAN07</c:v>
                </c:pt>
                <c:pt idx="1">
                  <c:v>FEB07</c:v>
                </c:pt>
                <c:pt idx="2">
                  <c:v>MAR07</c:v>
                </c:pt>
                <c:pt idx="3">
                  <c:v>APR07</c:v>
                </c:pt>
                <c:pt idx="4">
                  <c:v>MAY07</c:v>
                </c:pt>
                <c:pt idx="5">
                  <c:v>JUN07</c:v>
                </c:pt>
                <c:pt idx="6">
                  <c:v>JUL07</c:v>
                </c:pt>
                <c:pt idx="7">
                  <c:v>AUG07</c:v>
                </c:pt>
                <c:pt idx="8">
                  <c:v>SEP07</c:v>
                </c:pt>
                <c:pt idx="9">
                  <c:v>OCT07</c:v>
                </c:pt>
                <c:pt idx="10">
                  <c:v>NOV07</c:v>
                </c:pt>
                <c:pt idx="11">
                  <c:v>DEC07</c:v>
                </c:pt>
                <c:pt idx="12">
                  <c:v>JAN08</c:v>
                </c:pt>
                <c:pt idx="13">
                  <c:v>FEB08</c:v>
                </c:pt>
                <c:pt idx="14">
                  <c:v>MAR08</c:v>
                </c:pt>
                <c:pt idx="15">
                  <c:v>APR08</c:v>
                </c:pt>
                <c:pt idx="16">
                  <c:v>MAY08</c:v>
                </c:pt>
                <c:pt idx="17">
                  <c:v>JUN08</c:v>
                </c:pt>
                <c:pt idx="18">
                  <c:v>JUL08</c:v>
                </c:pt>
                <c:pt idx="19">
                  <c:v>AUG08</c:v>
                </c:pt>
                <c:pt idx="20">
                  <c:v>SEP08</c:v>
                </c:pt>
                <c:pt idx="21">
                  <c:v>OCT08</c:v>
                </c:pt>
                <c:pt idx="22">
                  <c:v>NOV08</c:v>
                </c:pt>
                <c:pt idx="23">
                  <c:v>DEC08</c:v>
                </c:pt>
                <c:pt idx="24">
                  <c:v>JAN09</c:v>
                </c:pt>
                <c:pt idx="25">
                  <c:v>FEB09</c:v>
                </c:pt>
                <c:pt idx="26">
                  <c:v>MAR09</c:v>
                </c:pt>
                <c:pt idx="27">
                  <c:v>APR09</c:v>
                </c:pt>
                <c:pt idx="28">
                  <c:v>MAY09</c:v>
                </c:pt>
                <c:pt idx="29">
                  <c:v>JUN09</c:v>
                </c:pt>
                <c:pt idx="30">
                  <c:v>JUL09</c:v>
                </c:pt>
                <c:pt idx="31">
                  <c:v>AUG09</c:v>
                </c:pt>
                <c:pt idx="32">
                  <c:v>SEP09</c:v>
                </c:pt>
                <c:pt idx="33">
                  <c:v>OCT09</c:v>
                </c:pt>
                <c:pt idx="34">
                  <c:v>NOV09</c:v>
                </c:pt>
                <c:pt idx="35">
                  <c:v>DEC09</c:v>
                </c:pt>
                <c:pt idx="36">
                  <c:v>JAN10</c:v>
                </c:pt>
                <c:pt idx="37">
                  <c:v>FEB10</c:v>
                </c:pt>
                <c:pt idx="38">
                  <c:v>MAR10</c:v>
                </c:pt>
                <c:pt idx="39">
                  <c:v>APR10</c:v>
                </c:pt>
                <c:pt idx="40">
                  <c:v>MAY10</c:v>
                </c:pt>
                <c:pt idx="41">
                  <c:v>JUN10</c:v>
                </c:pt>
                <c:pt idx="42">
                  <c:v>JUL10</c:v>
                </c:pt>
                <c:pt idx="43">
                  <c:v>AUG10</c:v>
                </c:pt>
                <c:pt idx="44">
                  <c:v>SEP10</c:v>
                </c:pt>
                <c:pt idx="45">
                  <c:v>OCT10</c:v>
                </c:pt>
                <c:pt idx="46">
                  <c:v>NOV10</c:v>
                </c:pt>
                <c:pt idx="47">
                  <c:v>DEC10</c:v>
                </c:pt>
                <c:pt idx="48">
                  <c:v>JAN11</c:v>
                </c:pt>
                <c:pt idx="49">
                  <c:v>FEB11</c:v>
                </c:pt>
                <c:pt idx="50">
                  <c:v>MAR11</c:v>
                </c:pt>
                <c:pt idx="51">
                  <c:v>APR11</c:v>
                </c:pt>
                <c:pt idx="52">
                  <c:v>MAY11</c:v>
                </c:pt>
                <c:pt idx="53">
                  <c:v>JUN11</c:v>
                </c:pt>
                <c:pt idx="54">
                  <c:v>JUL11</c:v>
                </c:pt>
                <c:pt idx="55">
                  <c:v>AUG11</c:v>
                </c:pt>
                <c:pt idx="56">
                  <c:v>SEP11</c:v>
                </c:pt>
                <c:pt idx="57">
                  <c:v>OCT11</c:v>
                </c:pt>
                <c:pt idx="58">
                  <c:v>NOV11</c:v>
                </c:pt>
                <c:pt idx="59">
                  <c:v>DEC11</c:v>
                </c:pt>
                <c:pt idx="60">
                  <c:v>JAN12</c:v>
                </c:pt>
                <c:pt idx="61">
                  <c:v>FEB12</c:v>
                </c:pt>
                <c:pt idx="62">
                  <c:v>MAR12</c:v>
                </c:pt>
                <c:pt idx="63">
                  <c:v>APR12</c:v>
                </c:pt>
                <c:pt idx="64">
                  <c:v>MAY12</c:v>
                </c:pt>
                <c:pt idx="65">
                  <c:v>JUN12</c:v>
                </c:pt>
                <c:pt idx="66">
                  <c:v>JUL12</c:v>
                </c:pt>
                <c:pt idx="67">
                  <c:v>AUG12</c:v>
                </c:pt>
                <c:pt idx="68">
                  <c:v>SEP12</c:v>
                </c:pt>
                <c:pt idx="69">
                  <c:v>OCT12</c:v>
                </c:pt>
                <c:pt idx="70">
                  <c:v>NOV12</c:v>
                </c:pt>
                <c:pt idx="71">
                  <c:v>DEC12</c:v>
                </c:pt>
                <c:pt idx="72">
                  <c:v>JAN13</c:v>
                </c:pt>
                <c:pt idx="73">
                  <c:v>FEB13</c:v>
                </c:pt>
                <c:pt idx="74">
                  <c:v>MAR13</c:v>
                </c:pt>
                <c:pt idx="75">
                  <c:v>APR13</c:v>
                </c:pt>
                <c:pt idx="76">
                  <c:v>MAY13</c:v>
                </c:pt>
                <c:pt idx="77">
                  <c:v>JUN13</c:v>
                </c:pt>
                <c:pt idx="78">
                  <c:v>JUL13</c:v>
                </c:pt>
                <c:pt idx="79">
                  <c:v>AUG13</c:v>
                </c:pt>
                <c:pt idx="80">
                  <c:v>SEP13</c:v>
                </c:pt>
                <c:pt idx="81">
                  <c:v>OCT13</c:v>
                </c:pt>
                <c:pt idx="82">
                  <c:v>NOV13</c:v>
                </c:pt>
                <c:pt idx="83">
                  <c:v>DEC13</c:v>
                </c:pt>
                <c:pt idx="84">
                  <c:v>JAN14</c:v>
                </c:pt>
                <c:pt idx="85">
                  <c:v>FEB14</c:v>
                </c:pt>
                <c:pt idx="86">
                  <c:v>MAR14</c:v>
                </c:pt>
                <c:pt idx="87">
                  <c:v>APR14</c:v>
                </c:pt>
                <c:pt idx="88">
                  <c:v>MAY14</c:v>
                </c:pt>
                <c:pt idx="89">
                  <c:v>JUN14</c:v>
                </c:pt>
                <c:pt idx="90">
                  <c:v>JUL14</c:v>
                </c:pt>
                <c:pt idx="91">
                  <c:v>AUG14</c:v>
                </c:pt>
                <c:pt idx="92">
                  <c:v>SEP14</c:v>
                </c:pt>
                <c:pt idx="93">
                  <c:v>OCT14</c:v>
                </c:pt>
                <c:pt idx="94">
                  <c:v>NOV14</c:v>
                </c:pt>
                <c:pt idx="95">
                  <c:v>DEC14</c:v>
                </c:pt>
                <c:pt idx="96">
                  <c:v>JAN15</c:v>
                </c:pt>
                <c:pt idx="97">
                  <c:v>FEB15</c:v>
                </c:pt>
                <c:pt idx="98">
                  <c:v>MAR15</c:v>
                </c:pt>
                <c:pt idx="99">
                  <c:v>APR15</c:v>
                </c:pt>
                <c:pt idx="100">
                  <c:v>MAY15</c:v>
                </c:pt>
                <c:pt idx="101">
                  <c:v>JUN15</c:v>
                </c:pt>
                <c:pt idx="102">
                  <c:v>JUL15</c:v>
                </c:pt>
                <c:pt idx="103">
                  <c:v>AUG15</c:v>
                </c:pt>
                <c:pt idx="104">
                  <c:v>SEP15</c:v>
                </c:pt>
                <c:pt idx="105">
                  <c:v>OCT15</c:v>
                </c:pt>
                <c:pt idx="106">
                  <c:v>NOV15</c:v>
                </c:pt>
                <c:pt idx="107">
                  <c:v>DEC15</c:v>
                </c:pt>
                <c:pt idx="108">
                  <c:v>JAN16</c:v>
                </c:pt>
                <c:pt idx="109">
                  <c:v>FEB16</c:v>
                </c:pt>
                <c:pt idx="110">
                  <c:v>MAR16</c:v>
                </c:pt>
                <c:pt idx="111">
                  <c:v>APR16</c:v>
                </c:pt>
                <c:pt idx="112">
                  <c:v>MAY16</c:v>
                </c:pt>
                <c:pt idx="113">
                  <c:v>JUN16</c:v>
                </c:pt>
                <c:pt idx="114">
                  <c:v>JUL16</c:v>
                </c:pt>
                <c:pt idx="115">
                  <c:v>AUG16</c:v>
                </c:pt>
                <c:pt idx="116">
                  <c:v>SEP16</c:v>
                </c:pt>
                <c:pt idx="117">
                  <c:v>OCT16</c:v>
                </c:pt>
                <c:pt idx="118">
                  <c:v>NOV16</c:v>
                </c:pt>
                <c:pt idx="119">
                  <c:v>DEC16</c:v>
                </c:pt>
                <c:pt idx="120">
                  <c:v>JAN17</c:v>
                </c:pt>
                <c:pt idx="121">
                  <c:v>FEB17</c:v>
                </c:pt>
                <c:pt idx="122">
                  <c:v>MAR17</c:v>
                </c:pt>
                <c:pt idx="123">
                  <c:v>APR17</c:v>
                </c:pt>
                <c:pt idx="124">
                  <c:v>MAY17</c:v>
                </c:pt>
                <c:pt idx="125">
                  <c:v>JUN17</c:v>
                </c:pt>
                <c:pt idx="126">
                  <c:v>JUL17</c:v>
                </c:pt>
                <c:pt idx="127">
                  <c:v>AUG17</c:v>
                </c:pt>
                <c:pt idx="128">
                  <c:v>SEP17</c:v>
                </c:pt>
                <c:pt idx="129">
                  <c:v>OCT17</c:v>
                </c:pt>
                <c:pt idx="130">
                  <c:v>NOV17</c:v>
                </c:pt>
                <c:pt idx="131">
                  <c:v>DEC17</c:v>
                </c:pt>
                <c:pt idx="132">
                  <c:v>JAN18</c:v>
                </c:pt>
                <c:pt idx="133">
                  <c:v>FEB18</c:v>
                </c:pt>
                <c:pt idx="134">
                  <c:v>MAR18</c:v>
                </c:pt>
                <c:pt idx="135">
                  <c:v>APR18</c:v>
                </c:pt>
                <c:pt idx="136">
                  <c:v>MAY18</c:v>
                </c:pt>
                <c:pt idx="137">
                  <c:v>JUN18</c:v>
                </c:pt>
              </c:strCache>
            </c:strRef>
          </c:cat>
          <c:val>
            <c:numRef>
              <c:f>Summary2!$C$52:$EJ$52</c:f>
              <c:numCache>
                <c:formatCode>General</c:formatCode>
                <c:ptCount val="138"/>
                <c:pt idx="0">
                  <c:v>38.080337105839504</c:v>
                </c:pt>
                <c:pt idx="1">
                  <c:v>37.782544701538562</c:v>
                </c:pt>
                <c:pt idx="2">
                  <c:v>37.509933726869811</c:v>
                </c:pt>
                <c:pt idx="3">
                  <c:v>37.3586926997842</c:v>
                </c:pt>
                <c:pt idx="4">
                  <c:v>37.227192309254868</c:v>
                </c:pt>
                <c:pt idx="5">
                  <c:v>37.148326207805482</c:v>
                </c:pt>
                <c:pt idx="6">
                  <c:v>37.131183610309641</c:v>
                </c:pt>
                <c:pt idx="7">
                  <c:v>37.129923585449326</c:v>
                </c:pt>
                <c:pt idx="8">
                  <c:v>37.115683081898929</c:v>
                </c:pt>
                <c:pt idx="9">
                  <c:v>37.027036601334729</c:v>
                </c:pt>
                <c:pt idx="10">
                  <c:v>37.009332506253436</c:v>
                </c:pt>
                <c:pt idx="11">
                  <c:v>36.902675444201236</c:v>
                </c:pt>
                <c:pt idx="12">
                  <c:v>36.74441687889216</c:v>
                </c:pt>
                <c:pt idx="13">
                  <c:v>36.759125208093529</c:v>
                </c:pt>
                <c:pt idx="14">
                  <c:v>36.704539840973077</c:v>
                </c:pt>
                <c:pt idx="15">
                  <c:v>36.656451878492305</c:v>
                </c:pt>
                <c:pt idx="16">
                  <c:v>36.802349787061246</c:v>
                </c:pt>
                <c:pt idx="17">
                  <c:v>36.761643136421441</c:v>
                </c:pt>
                <c:pt idx="18">
                  <c:v>36.786213826377484</c:v>
                </c:pt>
                <c:pt idx="19">
                  <c:v>36.798141260325139</c:v>
                </c:pt>
                <c:pt idx="20">
                  <c:v>36.80802548170022</c:v>
                </c:pt>
                <c:pt idx="21">
                  <c:v>36.898908853115962</c:v>
                </c:pt>
                <c:pt idx="22">
                  <c:v>36.831089637509905</c:v>
                </c:pt>
                <c:pt idx="23">
                  <c:v>36.695330186520046</c:v>
                </c:pt>
                <c:pt idx="24">
                  <c:v>36.597035558251171</c:v>
                </c:pt>
                <c:pt idx="25">
                  <c:v>36.535698981582357</c:v>
                </c:pt>
                <c:pt idx="26">
                  <c:v>36.729754009141473</c:v>
                </c:pt>
                <c:pt idx="27">
                  <c:v>36.66145488280543</c:v>
                </c:pt>
                <c:pt idx="28">
                  <c:v>36.469937229433206</c:v>
                </c:pt>
                <c:pt idx="29">
                  <c:v>35.817109516134856</c:v>
                </c:pt>
                <c:pt idx="30">
                  <c:v>35.200391063147642</c:v>
                </c:pt>
                <c:pt idx="31">
                  <c:v>35.138595593402016</c:v>
                </c:pt>
                <c:pt idx="32">
                  <c:v>35.03598779142866</c:v>
                </c:pt>
                <c:pt idx="33">
                  <c:v>34.922221707115426</c:v>
                </c:pt>
                <c:pt idx="34">
                  <c:v>34.790977032187463</c:v>
                </c:pt>
                <c:pt idx="35">
                  <c:v>34.689725289176081</c:v>
                </c:pt>
                <c:pt idx="36">
                  <c:v>34.417441452656938</c:v>
                </c:pt>
                <c:pt idx="37">
                  <c:v>34.264406750841346</c:v>
                </c:pt>
                <c:pt idx="38">
                  <c:v>34.061089081824207</c:v>
                </c:pt>
                <c:pt idx="39">
                  <c:v>33.978617011505328</c:v>
                </c:pt>
                <c:pt idx="40">
                  <c:v>33.931303743243774</c:v>
                </c:pt>
                <c:pt idx="41">
                  <c:v>34.310377519215614</c:v>
                </c:pt>
                <c:pt idx="42">
                  <c:v>34.569093491092389</c:v>
                </c:pt>
                <c:pt idx="43">
                  <c:v>34.319098555783064</c:v>
                </c:pt>
                <c:pt idx="44">
                  <c:v>34.175905641165045</c:v>
                </c:pt>
                <c:pt idx="45">
                  <c:v>33.983528005541743</c:v>
                </c:pt>
                <c:pt idx="46">
                  <c:v>33.841855278741996</c:v>
                </c:pt>
                <c:pt idx="47">
                  <c:v>33.858069882498278</c:v>
                </c:pt>
                <c:pt idx="48">
                  <c:v>33.879392629518172</c:v>
                </c:pt>
                <c:pt idx="49">
                  <c:v>33.922464496465857</c:v>
                </c:pt>
                <c:pt idx="50">
                  <c:v>34.001687130542777</c:v>
                </c:pt>
                <c:pt idx="51">
                  <c:v>34.174923527152828</c:v>
                </c:pt>
                <c:pt idx="52">
                  <c:v>34.195567216177459</c:v>
                </c:pt>
                <c:pt idx="53">
                  <c:v>34.283120982783132</c:v>
                </c:pt>
                <c:pt idx="54">
                  <c:v>34.547369337393647</c:v>
                </c:pt>
                <c:pt idx="55">
                  <c:v>34.700783248412478</c:v>
                </c:pt>
                <c:pt idx="56">
                  <c:v>34.781420929436493</c:v>
                </c:pt>
                <c:pt idx="57">
                  <c:v>34.783004127346864</c:v>
                </c:pt>
                <c:pt idx="58">
                  <c:v>34.876161085717918</c:v>
                </c:pt>
                <c:pt idx="59">
                  <c:v>34.954205251309283</c:v>
                </c:pt>
                <c:pt idx="60">
                  <c:v>35.251012929096007</c:v>
                </c:pt>
                <c:pt idx="61">
                  <c:v>35.448945275719041</c:v>
                </c:pt>
                <c:pt idx="62">
                  <c:v>35.617441391221298</c:v>
                </c:pt>
                <c:pt idx="63">
                  <c:v>35.578404898563377</c:v>
                </c:pt>
                <c:pt idx="64">
                  <c:v>35.585535403255761</c:v>
                </c:pt>
                <c:pt idx="65">
                  <c:v>35.531929302327498</c:v>
                </c:pt>
                <c:pt idx="66">
                  <c:v>35.372946455627186</c:v>
                </c:pt>
                <c:pt idx="67">
                  <c:v>35.269705285734929</c:v>
                </c:pt>
                <c:pt idx="68">
                  <c:v>35.224205385140458</c:v>
                </c:pt>
                <c:pt idx="69">
                  <c:v>35.285947453073781</c:v>
                </c:pt>
                <c:pt idx="70">
                  <c:v>35.315264450613633</c:v>
                </c:pt>
                <c:pt idx="71">
                  <c:v>35.364963340887456</c:v>
                </c:pt>
                <c:pt idx="72">
                  <c:v>35.257298146596028</c:v>
                </c:pt>
                <c:pt idx="73">
                  <c:v>35.070297718586296</c:v>
                </c:pt>
                <c:pt idx="74">
                  <c:v>34.95334967724682</c:v>
                </c:pt>
                <c:pt idx="75">
                  <c:v>34.791273282114204</c:v>
                </c:pt>
                <c:pt idx="76">
                  <c:v>34.872335367524919</c:v>
                </c:pt>
                <c:pt idx="77">
                  <c:v>34.900104610605226</c:v>
                </c:pt>
                <c:pt idx="78">
                  <c:v>34.945512937641482</c:v>
                </c:pt>
                <c:pt idx="79">
                  <c:v>34.972827336224732</c:v>
                </c:pt>
                <c:pt idx="80">
                  <c:v>35.022799329258582</c:v>
                </c:pt>
                <c:pt idx="81">
                  <c:v>35.253051556178605</c:v>
                </c:pt>
                <c:pt idx="82">
                  <c:v>35.294844135481306</c:v>
                </c:pt>
                <c:pt idx="83">
                  <c:v>35.286831963872778</c:v>
                </c:pt>
                <c:pt idx="84">
                  <c:v>35.350503727210942</c:v>
                </c:pt>
                <c:pt idx="85">
                  <c:v>35.211093789745988</c:v>
                </c:pt>
                <c:pt idx="86">
                  <c:v>35.25041294278325</c:v>
                </c:pt>
                <c:pt idx="87">
                  <c:v>35.305619171478718</c:v>
                </c:pt>
                <c:pt idx="88">
                  <c:v>35.134191085604058</c:v>
                </c:pt>
                <c:pt idx="89">
                  <c:v>35.096674324361814</c:v>
                </c:pt>
                <c:pt idx="90">
                  <c:v>35.079283752483121</c:v>
                </c:pt>
                <c:pt idx="91">
                  <c:v>35.087945378570858</c:v>
                </c:pt>
                <c:pt idx="92">
                  <c:v>34.9246402953721</c:v>
                </c:pt>
                <c:pt idx="93">
                  <c:v>34.713664821683757</c:v>
                </c:pt>
                <c:pt idx="94">
                  <c:v>34.617975400484788</c:v>
                </c:pt>
                <c:pt idx="95">
                  <c:v>34.379606232642779</c:v>
                </c:pt>
                <c:pt idx="96">
                  <c:v>34.215018056617829</c:v>
                </c:pt>
                <c:pt idx="97">
                  <c:v>34.402115372299129</c:v>
                </c:pt>
                <c:pt idx="98">
                  <c:v>34.151599195236251</c:v>
                </c:pt>
                <c:pt idx="99">
                  <c:v>34.117338015339179</c:v>
                </c:pt>
                <c:pt idx="100">
                  <c:v>34.198047286905549</c:v>
                </c:pt>
                <c:pt idx="101">
                  <c:v>34.269450325160449</c:v>
                </c:pt>
                <c:pt idx="102">
                  <c:v>34.281551551068439</c:v>
                </c:pt>
                <c:pt idx="103">
                  <c:v>34.118668482684996</c:v>
                </c:pt>
                <c:pt idx="104">
                  <c:v>34.083544238801991</c:v>
                </c:pt>
                <c:pt idx="105">
                  <c:v>34.002133108992822</c:v>
                </c:pt>
                <c:pt idx="106">
                  <c:v>33.920375684234898</c:v>
                </c:pt>
                <c:pt idx="107">
                  <c:v>34.065446731714282</c:v>
                </c:pt>
                <c:pt idx="108">
                  <c:v>34.246210209786</c:v>
                </c:pt>
                <c:pt idx="109">
                  <c:v>34.093153191773908</c:v>
                </c:pt>
                <c:pt idx="110">
                  <c:v>34.180727195535184</c:v>
                </c:pt>
                <c:pt idx="111">
                  <c:v>34.029085336594285</c:v>
                </c:pt>
                <c:pt idx="112">
                  <c:v>33.693590298717432</c:v>
                </c:pt>
                <c:pt idx="113">
                  <c:v>33.283297379121002</c:v>
                </c:pt>
                <c:pt idx="114">
                  <c:v>32.923944977358381</c:v>
                </c:pt>
                <c:pt idx="115">
                  <c:v>32.661305431726809</c:v>
                </c:pt>
                <c:pt idx="116">
                  <c:v>32.468438647401058</c:v>
                </c:pt>
                <c:pt idx="117">
                  <c:v>32.346127631259485</c:v>
                </c:pt>
                <c:pt idx="118">
                  <c:v>32.316877864723118</c:v>
                </c:pt>
                <c:pt idx="119">
                  <c:v>32.23338113740764</c:v>
                </c:pt>
                <c:pt idx="120">
                  <c:v>31.868402441132954</c:v>
                </c:pt>
                <c:pt idx="121">
                  <c:v>31.764311717340309</c:v>
                </c:pt>
                <c:pt idx="122">
                  <c:v>31.636279772736465</c:v>
                </c:pt>
                <c:pt idx="123">
                  <c:v>31.396516120983712</c:v>
                </c:pt>
                <c:pt idx="124">
                  <c:v>31.286951314022694</c:v>
                </c:pt>
                <c:pt idx="125">
                  <c:v>31.250151348543312</c:v>
                </c:pt>
                <c:pt idx="126">
                  <c:v>31.178449544836553</c:v>
                </c:pt>
                <c:pt idx="127">
                  <c:v>31.068923093858906</c:v>
                </c:pt>
                <c:pt idx="128">
                  <c:v>30.905370037507925</c:v>
                </c:pt>
                <c:pt idx="129">
                  <c:v>30.700753418467649</c:v>
                </c:pt>
                <c:pt idx="130">
                  <c:v>30.465796596903029</c:v>
                </c:pt>
                <c:pt idx="131">
                  <c:v>30.232681266052907</c:v>
                </c:pt>
                <c:pt idx="132">
                  <c:v>30.09284347363818</c:v>
                </c:pt>
                <c:pt idx="133">
                  <c:v>29.808560655783843</c:v>
                </c:pt>
                <c:pt idx="134">
                  <c:v>29.577568638467376</c:v>
                </c:pt>
                <c:pt idx="135">
                  <c:v>29.349877817066965</c:v>
                </c:pt>
                <c:pt idx="136">
                  <c:v>29.274164915548386</c:v>
                </c:pt>
                <c:pt idx="137">
                  <c:v>29.18900991215551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8437-477C-BC33-CB1C437DD8FC}"/>
            </c:ext>
          </c:extLst>
        </c:ser>
        <c:ser>
          <c:idx val="7"/>
          <c:order val="6"/>
          <c:tx>
            <c:strRef>
              <c:f>Summary2!$B$53</c:f>
              <c:strCache>
                <c:ptCount val="1"/>
                <c:pt idx="0">
                  <c:v>CTA (Chicago)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Summary2!$C$1:$EJ$1</c:f>
              <c:strCache>
                <c:ptCount val="138"/>
                <c:pt idx="0">
                  <c:v>JAN07</c:v>
                </c:pt>
                <c:pt idx="1">
                  <c:v>FEB07</c:v>
                </c:pt>
                <c:pt idx="2">
                  <c:v>MAR07</c:v>
                </c:pt>
                <c:pt idx="3">
                  <c:v>APR07</c:v>
                </c:pt>
                <c:pt idx="4">
                  <c:v>MAY07</c:v>
                </c:pt>
                <c:pt idx="5">
                  <c:v>JUN07</c:v>
                </c:pt>
                <c:pt idx="6">
                  <c:v>JUL07</c:v>
                </c:pt>
                <c:pt idx="7">
                  <c:v>AUG07</c:v>
                </c:pt>
                <c:pt idx="8">
                  <c:v>SEP07</c:v>
                </c:pt>
                <c:pt idx="9">
                  <c:v>OCT07</c:v>
                </c:pt>
                <c:pt idx="10">
                  <c:v>NOV07</c:v>
                </c:pt>
                <c:pt idx="11">
                  <c:v>DEC07</c:v>
                </c:pt>
                <c:pt idx="12">
                  <c:v>JAN08</c:v>
                </c:pt>
                <c:pt idx="13">
                  <c:v>FEB08</c:v>
                </c:pt>
                <c:pt idx="14">
                  <c:v>MAR08</c:v>
                </c:pt>
                <c:pt idx="15">
                  <c:v>APR08</c:v>
                </c:pt>
                <c:pt idx="16">
                  <c:v>MAY08</c:v>
                </c:pt>
                <c:pt idx="17">
                  <c:v>JUN08</c:v>
                </c:pt>
                <c:pt idx="18">
                  <c:v>JUL08</c:v>
                </c:pt>
                <c:pt idx="19">
                  <c:v>AUG08</c:v>
                </c:pt>
                <c:pt idx="20">
                  <c:v>SEP08</c:v>
                </c:pt>
                <c:pt idx="21">
                  <c:v>OCT08</c:v>
                </c:pt>
                <c:pt idx="22">
                  <c:v>NOV08</c:v>
                </c:pt>
                <c:pt idx="23">
                  <c:v>DEC08</c:v>
                </c:pt>
                <c:pt idx="24">
                  <c:v>JAN09</c:v>
                </c:pt>
                <c:pt idx="25">
                  <c:v>FEB09</c:v>
                </c:pt>
                <c:pt idx="26">
                  <c:v>MAR09</c:v>
                </c:pt>
                <c:pt idx="27">
                  <c:v>APR09</c:v>
                </c:pt>
                <c:pt idx="28">
                  <c:v>MAY09</c:v>
                </c:pt>
                <c:pt idx="29">
                  <c:v>JUN09</c:v>
                </c:pt>
                <c:pt idx="30">
                  <c:v>JUL09</c:v>
                </c:pt>
                <c:pt idx="31">
                  <c:v>AUG09</c:v>
                </c:pt>
                <c:pt idx="32">
                  <c:v>SEP09</c:v>
                </c:pt>
                <c:pt idx="33">
                  <c:v>OCT09</c:v>
                </c:pt>
                <c:pt idx="34">
                  <c:v>NOV09</c:v>
                </c:pt>
                <c:pt idx="35">
                  <c:v>DEC09</c:v>
                </c:pt>
                <c:pt idx="36">
                  <c:v>JAN10</c:v>
                </c:pt>
                <c:pt idx="37">
                  <c:v>FEB10</c:v>
                </c:pt>
                <c:pt idx="38">
                  <c:v>MAR10</c:v>
                </c:pt>
                <c:pt idx="39">
                  <c:v>APR10</c:v>
                </c:pt>
                <c:pt idx="40">
                  <c:v>MAY10</c:v>
                </c:pt>
                <c:pt idx="41">
                  <c:v>JUN10</c:v>
                </c:pt>
                <c:pt idx="42">
                  <c:v>JUL10</c:v>
                </c:pt>
                <c:pt idx="43">
                  <c:v>AUG10</c:v>
                </c:pt>
                <c:pt idx="44">
                  <c:v>SEP10</c:v>
                </c:pt>
                <c:pt idx="45">
                  <c:v>OCT10</c:v>
                </c:pt>
                <c:pt idx="46">
                  <c:v>NOV10</c:v>
                </c:pt>
                <c:pt idx="47">
                  <c:v>DEC10</c:v>
                </c:pt>
                <c:pt idx="48">
                  <c:v>JAN11</c:v>
                </c:pt>
                <c:pt idx="49">
                  <c:v>FEB11</c:v>
                </c:pt>
                <c:pt idx="50">
                  <c:v>MAR11</c:v>
                </c:pt>
                <c:pt idx="51">
                  <c:v>APR11</c:v>
                </c:pt>
                <c:pt idx="52">
                  <c:v>MAY11</c:v>
                </c:pt>
                <c:pt idx="53">
                  <c:v>JUN11</c:v>
                </c:pt>
                <c:pt idx="54">
                  <c:v>JUL11</c:v>
                </c:pt>
                <c:pt idx="55">
                  <c:v>AUG11</c:v>
                </c:pt>
                <c:pt idx="56">
                  <c:v>SEP11</c:v>
                </c:pt>
                <c:pt idx="57">
                  <c:v>OCT11</c:v>
                </c:pt>
                <c:pt idx="58">
                  <c:v>NOV11</c:v>
                </c:pt>
                <c:pt idx="59">
                  <c:v>DEC11</c:v>
                </c:pt>
                <c:pt idx="60">
                  <c:v>JAN12</c:v>
                </c:pt>
                <c:pt idx="61">
                  <c:v>FEB12</c:v>
                </c:pt>
                <c:pt idx="62">
                  <c:v>MAR12</c:v>
                </c:pt>
                <c:pt idx="63">
                  <c:v>APR12</c:v>
                </c:pt>
                <c:pt idx="64">
                  <c:v>MAY12</c:v>
                </c:pt>
                <c:pt idx="65">
                  <c:v>JUN12</c:v>
                </c:pt>
                <c:pt idx="66">
                  <c:v>JUL12</c:v>
                </c:pt>
                <c:pt idx="67">
                  <c:v>AUG12</c:v>
                </c:pt>
                <c:pt idx="68">
                  <c:v>SEP12</c:v>
                </c:pt>
                <c:pt idx="69">
                  <c:v>OCT12</c:v>
                </c:pt>
                <c:pt idx="70">
                  <c:v>NOV12</c:v>
                </c:pt>
                <c:pt idx="71">
                  <c:v>DEC12</c:v>
                </c:pt>
                <c:pt idx="72">
                  <c:v>JAN13</c:v>
                </c:pt>
                <c:pt idx="73">
                  <c:v>FEB13</c:v>
                </c:pt>
                <c:pt idx="74">
                  <c:v>MAR13</c:v>
                </c:pt>
                <c:pt idx="75">
                  <c:v>APR13</c:v>
                </c:pt>
                <c:pt idx="76">
                  <c:v>MAY13</c:v>
                </c:pt>
                <c:pt idx="77">
                  <c:v>JUN13</c:v>
                </c:pt>
                <c:pt idx="78">
                  <c:v>JUL13</c:v>
                </c:pt>
                <c:pt idx="79">
                  <c:v>AUG13</c:v>
                </c:pt>
                <c:pt idx="80">
                  <c:v>SEP13</c:v>
                </c:pt>
                <c:pt idx="81">
                  <c:v>OCT13</c:v>
                </c:pt>
                <c:pt idx="82">
                  <c:v>NOV13</c:v>
                </c:pt>
                <c:pt idx="83">
                  <c:v>DEC13</c:v>
                </c:pt>
                <c:pt idx="84">
                  <c:v>JAN14</c:v>
                </c:pt>
                <c:pt idx="85">
                  <c:v>FEB14</c:v>
                </c:pt>
                <c:pt idx="86">
                  <c:v>MAR14</c:v>
                </c:pt>
                <c:pt idx="87">
                  <c:v>APR14</c:v>
                </c:pt>
                <c:pt idx="88">
                  <c:v>MAY14</c:v>
                </c:pt>
                <c:pt idx="89">
                  <c:v>JUN14</c:v>
                </c:pt>
                <c:pt idx="90">
                  <c:v>JUL14</c:v>
                </c:pt>
                <c:pt idx="91">
                  <c:v>AUG14</c:v>
                </c:pt>
                <c:pt idx="92">
                  <c:v>SEP14</c:v>
                </c:pt>
                <c:pt idx="93">
                  <c:v>OCT14</c:v>
                </c:pt>
                <c:pt idx="94">
                  <c:v>NOV14</c:v>
                </c:pt>
                <c:pt idx="95">
                  <c:v>DEC14</c:v>
                </c:pt>
                <c:pt idx="96">
                  <c:v>JAN15</c:v>
                </c:pt>
                <c:pt idx="97">
                  <c:v>FEB15</c:v>
                </c:pt>
                <c:pt idx="98">
                  <c:v>MAR15</c:v>
                </c:pt>
                <c:pt idx="99">
                  <c:v>APR15</c:v>
                </c:pt>
                <c:pt idx="100">
                  <c:v>MAY15</c:v>
                </c:pt>
                <c:pt idx="101">
                  <c:v>JUN15</c:v>
                </c:pt>
                <c:pt idx="102">
                  <c:v>JUL15</c:v>
                </c:pt>
                <c:pt idx="103">
                  <c:v>AUG15</c:v>
                </c:pt>
                <c:pt idx="104">
                  <c:v>SEP15</c:v>
                </c:pt>
                <c:pt idx="105">
                  <c:v>OCT15</c:v>
                </c:pt>
                <c:pt idx="106">
                  <c:v>NOV15</c:v>
                </c:pt>
                <c:pt idx="107">
                  <c:v>DEC15</c:v>
                </c:pt>
                <c:pt idx="108">
                  <c:v>JAN16</c:v>
                </c:pt>
                <c:pt idx="109">
                  <c:v>FEB16</c:v>
                </c:pt>
                <c:pt idx="110">
                  <c:v>MAR16</c:v>
                </c:pt>
                <c:pt idx="111">
                  <c:v>APR16</c:v>
                </c:pt>
                <c:pt idx="112">
                  <c:v>MAY16</c:v>
                </c:pt>
                <c:pt idx="113">
                  <c:v>JUN16</c:v>
                </c:pt>
                <c:pt idx="114">
                  <c:v>JUL16</c:v>
                </c:pt>
                <c:pt idx="115">
                  <c:v>AUG16</c:v>
                </c:pt>
                <c:pt idx="116">
                  <c:v>SEP16</c:v>
                </c:pt>
                <c:pt idx="117">
                  <c:v>OCT16</c:v>
                </c:pt>
                <c:pt idx="118">
                  <c:v>NOV16</c:v>
                </c:pt>
                <c:pt idx="119">
                  <c:v>DEC16</c:v>
                </c:pt>
                <c:pt idx="120">
                  <c:v>JAN17</c:v>
                </c:pt>
                <c:pt idx="121">
                  <c:v>FEB17</c:v>
                </c:pt>
                <c:pt idx="122">
                  <c:v>MAR17</c:v>
                </c:pt>
                <c:pt idx="123">
                  <c:v>APR17</c:v>
                </c:pt>
                <c:pt idx="124">
                  <c:v>MAY17</c:v>
                </c:pt>
                <c:pt idx="125">
                  <c:v>JUN17</c:v>
                </c:pt>
                <c:pt idx="126">
                  <c:v>JUL17</c:v>
                </c:pt>
                <c:pt idx="127">
                  <c:v>AUG17</c:v>
                </c:pt>
                <c:pt idx="128">
                  <c:v>SEP17</c:v>
                </c:pt>
                <c:pt idx="129">
                  <c:v>OCT17</c:v>
                </c:pt>
                <c:pt idx="130">
                  <c:v>NOV17</c:v>
                </c:pt>
                <c:pt idx="131">
                  <c:v>DEC17</c:v>
                </c:pt>
                <c:pt idx="132">
                  <c:v>JAN18</c:v>
                </c:pt>
                <c:pt idx="133">
                  <c:v>FEB18</c:v>
                </c:pt>
                <c:pt idx="134">
                  <c:v>MAR18</c:v>
                </c:pt>
                <c:pt idx="135">
                  <c:v>APR18</c:v>
                </c:pt>
                <c:pt idx="136">
                  <c:v>MAY18</c:v>
                </c:pt>
                <c:pt idx="137">
                  <c:v>JUN18</c:v>
                </c:pt>
              </c:strCache>
            </c:strRef>
          </c:cat>
          <c:val>
            <c:numRef>
              <c:f>Summary2!$C$53:$EJ$53</c:f>
              <c:numCache>
                <c:formatCode>General</c:formatCode>
                <c:ptCount val="138"/>
                <c:pt idx="0">
                  <c:v>43.814815951280508</c:v>
                </c:pt>
                <c:pt idx="1">
                  <c:v>43.836768506209872</c:v>
                </c:pt>
                <c:pt idx="2">
                  <c:v>43.366391632629892</c:v>
                </c:pt>
                <c:pt idx="3">
                  <c:v>43.407219206445298</c:v>
                </c:pt>
                <c:pt idx="4">
                  <c:v>43.467248317172732</c:v>
                </c:pt>
                <c:pt idx="5">
                  <c:v>43.563323393063072</c:v>
                </c:pt>
                <c:pt idx="6">
                  <c:v>43.613013174771211</c:v>
                </c:pt>
                <c:pt idx="7">
                  <c:v>43.692275099301433</c:v>
                </c:pt>
                <c:pt idx="8">
                  <c:v>43.861324910924665</c:v>
                </c:pt>
                <c:pt idx="9">
                  <c:v>44.043934828830672</c:v>
                </c:pt>
                <c:pt idx="10">
                  <c:v>44.284479106611251</c:v>
                </c:pt>
                <c:pt idx="11">
                  <c:v>44.467219300527987</c:v>
                </c:pt>
                <c:pt idx="12">
                  <c:v>44.503496935190249</c:v>
                </c:pt>
                <c:pt idx="13">
                  <c:v>44.598501215668151</c:v>
                </c:pt>
                <c:pt idx="14">
                  <c:v>45.029464847824698</c:v>
                </c:pt>
                <c:pt idx="15">
                  <c:v>44.946606671562378</c:v>
                </c:pt>
                <c:pt idx="16">
                  <c:v>45.303518674920682</c:v>
                </c:pt>
                <c:pt idx="17">
                  <c:v>45.460124739228952</c:v>
                </c:pt>
                <c:pt idx="18">
                  <c:v>45.715949185642138</c:v>
                </c:pt>
                <c:pt idx="19">
                  <c:v>46.225387978777555</c:v>
                </c:pt>
                <c:pt idx="20">
                  <c:v>46.598934679074553</c:v>
                </c:pt>
                <c:pt idx="21">
                  <c:v>46.852948181835906</c:v>
                </c:pt>
                <c:pt idx="22">
                  <c:v>47.134216267420655</c:v>
                </c:pt>
                <c:pt idx="23">
                  <c:v>47.293480790797076</c:v>
                </c:pt>
                <c:pt idx="24">
                  <c:v>47.205857978361557</c:v>
                </c:pt>
                <c:pt idx="25">
                  <c:v>47.227377578470453</c:v>
                </c:pt>
                <c:pt idx="26">
                  <c:v>47.462625975058749</c:v>
                </c:pt>
                <c:pt idx="27">
                  <c:v>47.616394946726871</c:v>
                </c:pt>
                <c:pt idx="28">
                  <c:v>47.366014492262472</c:v>
                </c:pt>
                <c:pt idx="29">
                  <c:v>47.302671177257949</c:v>
                </c:pt>
                <c:pt idx="30">
                  <c:v>47.125334258917796</c:v>
                </c:pt>
                <c:pt idx="31">
                  <c:v>46.890306594210891</c:v>
                </c:pt>
                <c:pt idx="32">
                  <c:v>46.631891646676607</c:v>
                </c:pt>
                <c:pt idx="33">
                  <c:v>46.421287819481051</c:v>
                </c:pt>
                <c:pt idx="34">
                  <c:v>46.116713601298464</c:v>
                </c:pt>
                <c:pt idx="35">
                  <c:v>46.067068366063943</c:v>
                </c:pt>
                <c:pt idx="36">
                  <c:v>46.103475040439839</c:v>
                </c:pt>
                <c:pt idx="37">
                  <c:v>46.193774867571037</c:v>
                </c:pt>
                <c:pt idx="38">
                  <c:v>46.478593409486471</c:v>
                </c:pt>
                <c:pt idx="39">
                  <c:v>46.894402062537374</c:v>
                </c:pt>
                <c:pt idx="40">
                  <c:v>47.403011037564625</c:v>
                </c:pt>
                <c:pt idx="41">
                  <c:v>47.712418804303013</c:v>
                </c:pt>
                <c:pt idx="42">
                  <c:v>48.197502703638612</c:v>
                </c:pt>
                <c:pt idx="43">
                  <c:v>48.613717369861575</c:v>
                </c:pt>
                <c:pt idx="44">
                  <c:v>49.194498570467445</c:v>
                </c:pt>
                <c:pt idx="45">
                  <c:v>49.666773167132853</c:v>
                </c:pt>
                <c:pt idx="46">
                  <c:v>50.185820188754043</c:v>
                </c:pt>
                <c:pt idx="47">
                  <c:v>50.603620837756516</c:v>
                </c:pt>
                <c:pt idx="48">
                  <c:v>50.976213963389952</c:v>
                </c:pt>
                <c:pt idx="49">
                  <c:v>51.472475167935492</c:v>
                </c:pt>
                <c:pt idx="50">
                  <c:v>51.399894365101801</c:v>
                </c:pt>
                <c:pt idx="51">
                  <c:v>51.514530212838785</c:v>
                </c:pt>
                <c:pt idx="52">
                  <c:v>51.494508253576385</c:v>
                </c:pt>
                <c:pt idx="53">
                  <c:v>51.573719356800481</c:v>
                </c:pt>
                <c:pt idx="54">
                  <c:v>51.694390279141082</c:v>
                </c:pt>
                <c:pt idx="55">
                  <c:v>51.74851463449788</c:v>
                </c:pt>
                <c:pt idx="56">
                  <c:v>51.838187665062087</c:v>
                </c:pt>
                <c:pt idx="57">
                  <c:v>51.921988957260716</c:v>
                </c:pt>
                <c:pt idx="58">
                  <c:v>51.989424844206418</c:v>
                </c:pt>
                <c:pt idx="59">
                  <c:v>52.082838751140599</c:v>
                </c:pt>
                <c:pt idx="60">
                  <c:v>52.547294045065577</c:v>
                </c:pt>
                <c:pt idx="61">
                  <c:v>52.827922077922075</c:v>
                </c:pt>
                <c:pt idx="62">
                  <c:v>53.404244973125323</c:v>
                </c:pt>
                <c:pt idx="63">
                  <c:v>53.755316748255318</c:v>
                </c:pt>
                <c:pt idx="64">
                  <c:v>54.014126009537598</c:v>
                </c:pt>
                <c:pt idx="65">
                  <c:v>54.273989563880278</c:v>
                </c:pt>
                <c:pt idx="66">
                  <c:v>54.47862711340494</c:v>
                </c:pt>
                <c:pt idx="67">
                  <c:v>54.583109566499999</c:v>
                </c:pt>
                <c:pt idx="68">
                  <c:v>54.768507220441542</c:v>
                </c:pt>
                <c:pt idx="69">
                  <c:v>54.949104143826574</c:v>
                </c:pt>
                <c:pt idx="70">
                  <c:v>55.25299491784785</c:v>
                </c:pt>
                <c:pt idx="71">
                  <c:v>55.505922340169271</c:v>
                </c:pt>
                <c:pt idx="72">
                  <c:v>55.567321725158202</c:v>
                </c:pt>
                <c:pt idx="73">
                  <c:v>55.434359528050102</c:v>
                </c:pt>
                <c:pt idx="74">
                  <c:v>55.159197813587404</c:v>
                </c:pt>
                <c:pt idx="75">
                  <c:v>54.79238495966856</c:v>
                </c:pt>
                <c:pt idx="76">
                  <c:v>54.717362461191797</c:v>
                </c:pt>
                <c:pt idx="77">
                  <c:v>54.526791555776846</c:v>
                </c:pt>
                <c:pt idx="78">
                  <c:v>54.221283026393728</c:v>
                </c:pt>
                <c:pt idx="79">
                  <c:v>53.918371823734155</c:v>
                </c:pt>
                <c:pt idx="80">
                  <c:v>53.491021372427952</c:v>
                </c:pt>
                <c:pt idx="81">
                  <c:v>53.150181778372428</c:v>
                </c:pt>
                <c:pt idx="82">
                  <c:v>52.754924094225181</c:v>
                </c:pt>
                <c:pt idx="83">
                  <c:v>52.276431483102144</c:v>
                </c:pt>
                <c:pt idx="84">
                  <c:v>51.832932100487206</c:v>
                </c:pt>
                <c:pt idx="85">
                  <c:v>51.176272226741503</c:v>
                </c:pt>
                <c:pt idx="86">
                  <c:v>50.900741006117215</c:v>
                </c:pt>
                <c:pt idx="87">
                  <c:v>50.766137457074443</c:v>
                </c:pt>
                <c:pt idx="88">
                  <c:v>50.468936117107809</c:v>
                </c:pt>
                <c:pt idx="89">
                  <c:v>50.241098419199254</c:v>
                </c:pt>
                <c:pt idx="90">
                  <c:v>49.950342517159015</c:v>
                </c:pt>
                <c:pt idx="91">
                  <c:v>49.733315400158091</c:v>
                </c:pt>
                <c:pt idx="92">
                  <c:v>49.449242039502835</c:v>
                </c:pt>
                <c:pt idx="93">
                  <c:v>49.263295330360258</c:v>
                </c:pt>
                <c:pt idx="94">
                  <c:v>49.0465894486385</c:v>
                </c:pt>
                <c:pt idx="95">
                  <c:v>48.812551270517055</c:v>
                </c:pt>
                <c:pt idx="96">
                  <c:v>48.812019544129413</c:v>
                </c:pt>
                <c:pt idx="97">
                  <c:v>48.960466149386797</c:v>
                </c:pt>
                <c:pt idx="98">
                  <c:v>48.78064440464042</c:v>
                </c:pt>
                <c:pt idx="99">
                  <c:v>48.688170463465042</c:v>
                </c:pt>
                <c:pt idx="100">
                  <c:v>48.588479091707796</c:v>
                </c:pt>
                <c:pt idx="101">
                  <c:v>48.461117291298734</c:v>
                </c:pt>
                <c:pt idx="102">
                  <c:v>48.512851740746996</c:v>
                </c:pt>
                <c:pt idx="103">
                  <c:v>48.549773226866414</c:v>
                </c:pt>
                <c:pt idx="104">
                  <c:v>48.537044211862785</c:v>
                </c:pt>
                <c:pt idx="105">
                  <c:v>48.472433480828968</c:v>
                </c:pt>
                <c:pt idx="106">
                  <c:v>48.440654415882456</c:v>
                </c:pt>
                <c:pt idx="107">
                  <c:v>48.454828671967789</c:v>
                </c:pt>
                <c:pt idx="108">
                  <c:v>47.871927314068941</c:v>
                </c:pt>
                <c:pt idx="109">
                  <c:v>47.811713070808679</c:v>
                </c:pt>
                <c:pt idx="110">
                  <c:v>47.730660213178915</c:v>
                </c:pt>
                <c:pt idx="111">
                  <c:v>47.436994465175196</c:v>
                </c:pt>
                <c:pt idx="112">
                  <c:v>47.132415931324886</c:v>
                </c:pt>
                <c:pt idx="113">
                  <c:v>46.81624385463094</c:v>
                </c:pt>
                <c:pt idx="114">
                  <c:v>46.502930668750707</c:v>
                </c:pt>
                <c:pt idx="115">
                  <c:v>46.096462644301816</c:v>
                </c:pt>
                <c:pt idx="116">
                  <c:v>45.786744028884655</c:v>
                </c:pt>
                <c:pt idx="117">
                  <c:v>45.505793399160552</c:v>
                </c:pt>
                <c:pt idx="118">
                  <c:v>45.130959202591249</c:v>
                </c:pt>
                <c:pt idx="119">
                  <c:v>44.909269998119818</c:v>
                </c:pt>
                <c:pt idx="120">
                  <c:v>44.983725295136928</c:v>
                </c:pt>
                <c:pt idx="121">
                  <c:v>44.690692107808871</c:v>
                </c:pt>
                <c:pt idx="122">
                  <c:v>44.517301533873074</c:v>
                </c:pt>
                <c:pt idx="123">
                  <c:v>44.259175290858273</c:v>
                </c:pt>
                <c:pt idx="124">
                  <c:v>44.008441569150982</c:v>
                </c:pt>
                <c:pt idx="125">
                  <c:v>43.858318460340371</c:v>
                </c:pt>
                <c:pt idx="126">
                  <c:v>43.728996090286799</c:v>
                </c:pt>
                <c:pt idx="127">
                  <c:v>43.620657578493024</c:v>
                </c:pt>
                <c:pt idx="128">
                  <c:v>43.51759015469132</c:v>
                </c:pt>
                <c:pt idx="129">
                  <c:v>43.413867443448282</c:v>
                </c:pt>
                <c:pt idx="130">
                  <c:v>43.299704574961183</c:v>
                </c:pt>
                <c:pt idx="131">
                  <c:v>43.209099138230023</c:v>
                </c:pt>
                <c:pt idx="132">
                  <c:v>43.177406107383597</c:v>
                </c:pt>
                <c:pt idx="133">
                  <c:v>43.043306166622529</c:v>
                </c:pt>
                <c:pt idx="134">
                  <c:v>42.799615831797489</c:v>
                </c:pt>
                <c:pt idx="135">
                  <c:v>42.62917184358534</c:v>
                </c:pt>
                <c:pt idx="136">
                  <c:v>42.631745536168083</c:v>
                </c:pt>
                <c:pt idx="137">
                  <c:v>42.54598115403775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6-8437-477C-BC33-CB1C437DD8FC}"/>
            </c:ext>
          </c:extLst>
        </c:ser>
        <c:ser>
          <c:idx val="8"/>
          <c:order val="7"/>
          <c:tx>
            <c:strRef>
              <c:f>Summary2!$B$54</c:f>
              <c:strCache>
                <c:ptCount val="1"/>
                <c:pt idx="0">
                  <c:v>Muni (San Francisco)</c:v>
                </c:pt>
              </c:strCache>
            </c:strRef>
          </c:tx>
          <c:spPr>
            <a:ln w="28575" cap="rnd">
              <a:solidFill>
                <a:srgbClr val="801402"/>
              </a:solidFill>
              <a:round/>
            </a:ln>
            <a:effectLst/>
          </c:spPr>
          <c:marker>
            <c:symbol val="none"/>
          </c:marker>
          <c:cat>
            <c:strRef>
              <c:f>Summary2!$C$1:$EJ$1</c:f>
              <c:strCache>
                <c:ptCount val="138"/>
                <c:pt idx="0">
                  <c:v>JAN07</c:v>
                </c:pt>
                <c:pt idx="1">
                  <c:v>FEB07</c:v>
                </c:pt>
                <c:pt idx="2">
                  <c:v>MAR07</c:v>
                </c:pt>
                <c:pt idx="3">
                  <c:v>APR07</c:v>
                </c:pt>
                <c:pt idx="4">
                  <c:v>MAY07</c:v>
                </c:pt>
                <c:pt idx="5">
                  <c:v>JUN07</c:v>
                </c:pt>
                <c:pt idx="6">
                  <c:v>JUL07</c:v>
                </c:pt>
                <c:pt idx="7">
                  <c:v>AUG07</c:v>
                </c:pt>
                <c:pt idx="8">
                  <c:v>SEP07</c:v>
                </c:pt>
                <c:pt idx="9">
                  <c:v>OCT07</c:v>
                </c:pt>
                <c:pt idx="10">
                  <c:v>NOV07</c:v>
                </c:pt>
                <c:pt idx="11">
                  <c:v>DEC07</c:v>
                </c:pt>
                <c:pt idx="12">
                  <c:v>JAN08</c:v>
                </c:pt>
                <c:pt idx="13">
                  <c:v>FEB08</c:v>
                </c:pt>
                <c:pt idx="14">
                  <c:v>MAR08</c:v>
                </c:pt>
                <c:pt idx="15">
                  <c:v>APR08</c:v>
                </c:pt>
                <c:pt idx="16">
                  <c:v>MAY08</c:v>
                </c:pt>
                <c:pt idx="17">
                  <c:v>JUN08</c:v>
                </c:pt>
                <c:pt idx="18">
                  <c:v>JUL08</c:v>
                </c:pt>
                <c:pt idx="19">
                  <c:v>AUG08</c:v>
                </c:pt>
                <c:pt idx="20">
                  <c:v>SEP08</c:v>
                </c:pt>
                <c:pt idx="21">
                  <c:v>OCT08</c:v>
                </c:pt>
                <c:pt idx="22">
                  <c:v>NOV08</c:v>
                </c:pt>
                <c:pt idx="23">
                  <c:v>DEC08</c:v>
                </c:pt>
                <c:pt idx="24">
                  <c:v>JAN09</c:v>
                </c:pt>
                <c:pt idx="25">
                  <c:v>FEB09</c:v>
                </c:pt>
                <c:pt idx="26">
                  <c:v>MAR09</c:v>
                </c:pt>
                <c:pt idx="27">
                  <c:v>APR09</c:v>
                </c:pt>
                <c:pt idx="28">
                  <c:v>MAY09</c:v>
                </c:pt>
                <c:pt idx="29">
                  <c:v>JUN09</c:v>
                </c:pt>
                <c:pt idx="30">
                  <c:v>JUL09</c:v>
                </c:pt>
                <c:pt idx="31">
                  <c:v>AUG09</c:v>
                </c:pt>
                <c:pt idx="32">
                  <c:v>SEP09</c:v>
                </c:pt>
                <c:pt idx="33">
                  <c:v>OCT09</c:v>
                </c:pt>
                <c:pt idx="34">
                  <c:v>NOV09</c:v>
                </c:pt>
                <c:pt idx="35">
                  <c:v>DEC09</c:v>
                </c:pt>
                <c:pt idx="36">
                  <c:v>JAN10</c:v>
                </c:pt>
                <c:pt idx="37">
                  <c:v>FEB10</c:v>
                </c:pt>
                <c:pt idx="38">
                  <c:v>MAR10</c:v>
                </c:pt>
                <c:pt idx="39">
                  <c:v>APR10</c:v>
                </c:pt>
                <c:pt idx="40">
                  <c:v>MAY10</c:v>
                </c:pt>
                <c:pt idx="41">
                  <c:v>JUN10</c:v>
                </c:pt>
                <c:pt idx="42">
                  <c:v>JUL10</c:v>
                </c:pt>
                <c:pt idx="43">
                  <c:v>AUG10</c:v>
                </c:pt>
                <c:pt idx="44">
                  <c:v>SEP10</c:v>
                </c:pt>
                <c:pt idx="45">
                  <c:v>OCT10</c:v>
                </c:pt>
                <c:pt idx="46">
                  <c:v>NOV10</c:v>
                </c:pt>
                <c:pt idx="47">
                  <c:v>DEC10</c:v>
                </c:pt>
                <c:pt idx="48">
                  <c:v>JAN11</c:v>
                </c:pt>
                <c:pt idx="49">
                  <c:v>FEB11</c:v>
                </c:pt>
                <c:pt idx="50">
                  <c:v>MAR11</c:v>
                </c:pt>
                <c:pt idx="51">
                  <c:v>APR11</c:v>
                </c:pt>
                <c:pt idx="52">
                  <c:v>MAY11</c:v>
                </c:pt>
                <c:pt idx="53">
                  <c:v>JUN11</c:v>
                </c:pt>
                <c:pt idx="54">
                  <c:v>JUL11</c:v>
                </c:pt>
                <c:pt idx="55">
                  <c:v>AUG11</c:v>
                </c:pt>
                <c:pt idx="56">
                  <c:v>SEP11</c:v>
                </c:pt>
                <c:pt idx="57">
                  <c:v>OCT11</c:v>
                </c:pt>
                <c:pt idx="58">
                  <c:v>NOV11</c:v>
                </c:pt>
                <c:pt idx="59">
                  <c:v>DEC11</c:v>
                </c:pt>
                <c:pt idx="60">
                  <c:v>JAN12</c:v>
                </c:pt>
                <c:pt idx="61">
                  <c:v>FEB12</c:v>
                </c:pt>
                <c:pt idx="62">
                  <c:v>MAR12</c:v>
                </c:pt>
                <c:pt idx="63">
                  <c:v>APR12</c:v>
                </c:pt>
                <c:pt idx="64">
                  <c:v>MAY12</c:v>
                </c:pt>
                <c:pt idx="65">
                  <c:v>JUN12</c:v>
                </c:pt>
                <c:pt idx="66">
                  <c:v>JUL12</c:v>
                </c:pt>
                <c:pt idx="67">
                  <c:v>AUG12</c:v>
                </c:pt>
                <c:pt idx="68">
                  <c:v>SEP12</c:v>
                </c:pt>
                <c:pt idx="69">
                  <c:v>OCT12</c:v>
                </c:pt>
                <c:pt idx="70">
                  <c:v>NOV12</c:v>
                </c:pt>
                <c:pt idx="71">
                  <c:v>DEC12</c:v>
                </c:pt>
                <c:pt idx="72">
                  <c:v>JAN13</c:v>
                </c:pt>
                <c:pt idx="73">
                  <c:v>FEB13</c:v>
                </c:pt>
                <c:pt idx="74">
                  <c:v>MAR13</c:v>
                </c:pt>
                <c:pt idx="75">
                  <c:v>APR13</c:v>
                </c:pt>
                <c:pt idx="76">
                  <c:v>MAY13</c:v>
                </c:pt>
                <c:pt idx="77">
                  <c:v>JUN13</c:v>
                </c:pt>
                <c:pt idx="78">
                  <c:v>JUL13</c:v>
                </c:pt>
                <c:pt idx="79">
                  <c:v>AUG13</c:v>
                </c:pt>
                <c:pt idx="80">
                  <c:v>SEP13</c:v>
                </c:pt>
                <c:pt idx="81">
                  <c:v>OCT13</c:v>
                </c:pt>
                <c:pt idx="82">
                  <c:v>NOV13</c:v>
                </c:pt>
                <c:pt idx="83">
                  <c:v>DEC13</c:v>
                </c:pt>
                <c:pt idx="84">
                  <c:v>JAN14</c:v>
                </c:pt>
                <c:pt idx="85">
                  <c:v>FEB14</c:v>
                </c:pt>
                <c:pt idx="86">
                  <c:v>MAR14</c:v>
                </c:pt>
                <c:pt idx="87">
                  <c:v>APR14</c:v>
                </c:pt>
                <c:pt idx="88">
                  <c:v>MAY14</c:v>
                </c:pt>
                <c:pt idx="89">
                  <c:v>JUN14</c:v>
                </c:pt>
                <c:pt idx="90">
                  <c:v>JUL14</c:v>
                </c:pt>
                <c:pt idx="91">
                  <c:v>AUG14</c:v>
                </c:pt>
                <c:pt idx="92">
                  <c:v>SEP14</c:v>
                </c:pt>
                <c:pt idx="93">
                  <c:v>OCT14</c:v>
                </c:pt>
                <c:pt idx="94">
                  <c:v>NOV14</c:v>
                </c:pt>
                <c:pt idx="95">
                  <c:v>DEC14</c:v>
                </c:pt>
                <c:pt idx="96">
                  <c:v>JAN15</c:v>
                </c:pt>
                <c:pt idx="97">
                  <c:v>FEB15</c:v>
                </c:pt>
                <c:pt idx="98">
                  <c:v>MAR15</c:v>
                </c:pt>
                <c:pt idx="99">
                  <c:v>APR15</c:v>
                </c:pt>
                <c:pt idx="100">
                  <c:v>MAY15</c:v>
                </c:pt>
                <c:pt idx="101">
                  <c:v>JUN15</c:v>
                </c:pt>
                <c:pt idx="102">
                  <c:v>JUL15</c:v>
                </c:pt>
                <c:pt idx="103">
                  <c:v>AUG15</c:v>
                </c:pt>
                <c:pt idx="104">
                  <c:v>SEP15</c:v>
                </c:pt>
                <c:pt idx="105">
                  <c:v>OCT15</c:v>
                </c:pt>
                <c:pt idx="106">
                  <c:v>NOV15</c:v>
                </c:pt>
                <c:pt idx="107">
                  <c:v>DEC15</c:v>
                </c:pt>
                <c:pt idx="108">
                  <c:v>JAN16</c:v>
                </c:pt>
                <c:pt idx="109">
                  <c:v>FEB16</c:v>
                </c:pt>
                <c:pt idx="110">
                  <c:v>MAR16</c:v>
                </c:pt>
                <c:pt idx="111">
                  <c:v>APR16</c:v>
                </c:pt>
                <c:pt idx="112">
                  <c:v>MAY16</c:v>
                </c:pt>
                <c:pt idx="113">
                  <c:v>JUN16</c:v>
                </c:pt>
                <c:pt idx="114">
                  <c:v>JUL16</c:v>
                </c:pt>
                <c:pt idx="115">
                  <c:v>AUG16</c:v>
                </c:pt>
                <c:pt idx="116">
                  <c:v>SEP16</c:v>
                </c:pt>
                <c:pt idx="117">
                  <c:v>OCT16</c:v>
                </c:pt>
                <c:pt idx="118">
                  <c:v>NOV16</c:v>
                </c:pt>
                <c:pt idx="119">
                  <c:v>DEC16</c:v>
                </c:pt>
                <c:pt idx="120">
                  <c:v>JAN17</c:v>
                </c:pt>
                <c:pt idx="121">
                  <c:v>FEB17</c:v>
                </c:pt>
                <c:pt idx="122">
                  <c:v>MAR17</c:v>
                </c:pt>
                <c:pt idx="123">
                  <c:v>APR17</c:v>
                </c:pt>
                <c:pt idx="124">
                  <c:v>MAY17</c:v>
                </c:pt>
                <c:pt idx="125">
                  <c:v>JUN17</c:v>
                </c:pt>
                <c:pt idx="126">
                  <c:v>JUL17</c:v>
                </c:pt>
                <c:pt idx="127">
                  <c:v>AUG17</c:v>
                </c:pt>
                <c:pt idx="128">
                  <c:v>SEP17</c:v>
                </c:pt>
                <c:pt idx="129">
                  <c:v>OCT17</c:v>
                </c:pt>
                <c:pt idx="130">
                  <c:v>NOV17</c:v>
                </c:pt>
                <c:pt idx="131">
                  <c:v>DEC17</c:v>
                </c:pt>
                <c:pt idx="132">
                  <c:v>JAN18</c:v>
                </c:pt>
                <c:pt idx="133">
                  <c:v>FEB18</c:v>
                </c:pt>
                <c:pt idx="134">
                  <c:v>MAR18</c:v>
                </c:pt>
                <c:pt idx="135">
                  <c:v>APR18</c:v>
                </c:pt>
                <c:pt idx="136">
                  <c:v>MAY18</c:v>
                </c:pt>
                <c:pt idx="137">
                  <c:v>JUN18</c:v>
                </c:pt>
              </c:strCache>
            </c:strRef>
          </c:cat>
          <c:val>
            <c:numRef>
              <c:f>Summary2!$C$54:$EJ$54</c:f>
              <c:numCache>
                <c:formatCode>General</c:formatCode>
                <c:ptCount val="138"/>
                <c:pt idx="0">
                  <c:v>63.181276378820478</c:v>
                </c:pt>
                <c:pt idx="1">
                  <c:v>62.937614948670443</c:v>
                </c:pt>
                <c:pt idx="2">
                  <c:v>62.755628560910658</c:v>
                </c:pt>
                <c:pt idx="3">
                  <c:v>62.575769125017345</c:v>
                </c:pt>
                <c:pt idx="4">
                  <c:v>62.374470389797175</c:v>
                </c:pt>
                <c:pt idx="5">
                  <c:v>62.083504336458056</c:v>
                </c:pt>
                <c:pt idx="6">
                  <c:v>61.893933369897731</c:v>
                </c:pt>
                <c:pt idx="7">
                  <c:v>61.825921464150767</c:v>
                </c:pt>
                <c:pt idx="8">
                  <c:v>61.80250534353636</c:v>
                </c:pt>
                <c:pt idx="9">
                  <c:v>61.831937395168481</c:v>
                </c:pt>
                <c:pt idx="10">
                  <c:v>61.755151703216157</c:v>
                </c:pt>
                <c:pt idx="11">
                  <c:v>61.741602753296078</c:v>
                </c:pt>
                <c:pt idx="12">
                  <c:v>61.720130995324723</c:v>
                </c:pt>
                <c:pt idx="13">
                  <c:v>61.749387202707275</c:v>
                </c:pt>
                <c:pt idx="14">
                  <c:v>61.592100603520535</c:v>
                </c:pt>
                <c:pt idx="15">
                  <c:v>61.676368131097732</c:v>
                </c:pt>
                <c:pt idx="16">
                  <c:v>61.654081571556084</c:v>
                </c:pt>
                <c:pt idx="17">
                  <c:v>61.729735069110937</c:v>
                </c:pt>
                <c:pt idx="18">
                  <c:v>61.769383724917198</c:v>
                </c:pt>
                <c:pt idx="19">
                  <c:v>62.139085789771151</c:v>
                </c:pt>
                <c:pt idx="20">
                  <c:v>61.838276875160652</c:v>
                </c:pt>
                <c:pt idx="21">
                  <c:v>62.038050617094051</c:v>
                </c:pt>
                <c:pt idx="22">
                  <c:v>61.948040308520248</c:v>
                </c:pt>
                <c:pt idx="23">
                  <c:v>62.31320457249064</c:v>
                </c:pt>
                <c:pt idx="24">
                  <c:v>61.884027563355296</c:v>
                </c:pt>
                <c:pt idx="25">
                  <c:v>62.25699421792266</c:v>
                </c:pt>
                <c:pt idx="26">
                  <c:v>62.572075895507218</c:v>
                </c:pt>
                <c:pt idx="27">
                  <c:v>62.347251096896919</c:v>
                </c:pt>
                <c:pt idx="28">
                  <c:v>62.262422597140073</c:v>
                </c:pt>
                <c:pt idx="29">
                  <c:v>61.799918074072771</c:v>
                </c:pt>
                <c:pt idx="30">
                  <c:v>61.450800714408231</c:v>
                </c:pt>
                <c:pt idx="31">
                  <c:v>61.963461745187445</c:v>
                </c:pt>
                <c:pt idx="32">
                  <c:v>62.760766962454369</c:v>
                </c:pt>
                <c:pt idx="33">
                  <c:v>63.129667081571235</c:v>
                </c:pt>
                <c:pt idx="34">
                  <c:v>63.712194475138126</c:v>
                </c:pt>
                <c:pt idx="35">
                  <c:v>63.86258762158343</c:v>
                </c:pt>
                <c:pt idx="36">
                  <c:v>64.339110211429656</c:v>
                </c:pt>
                <c:pt idx="37">
                  <c:v>64.367198031642857</c:v>
                </c:pt>
                <c:pt idx="38">
                  <c:v>64.282197702535186</c:v>
                </c:pt>
                <c:pt idx="39">
                  <c:v>64.390089295220832</c:v>
                </c:pt>
                <c:pt idx="40">
                  <c:v>64.489059750826343</c:v>
                </c:pt>
                <c:pt idx="41">
                  <c:v>64.561084530587181</c:v>
                </c:pt>
                <c:pt idx="42">
                  <c:v>64.580898004938618</c:v>
                </c:pt>
                <c:pt idx="43">
                  <c:v>63.616903887441829</c:v>
                </c:pt>
                <c:pt idx="44">
                  <c:v>62.602057828377312</c:v>
                </c:pt>
                <c:pt idx="45">
                  <c:v>62.197344603637795</c:v>
                </c:pt>
                <c:pt idx="46">
                  <c:v>61.654134944423461</c:v>
                </c:pt>
                <c:pt idx="47">
                  <c:v>61.749326263135437</c:v>
                </c:pt>
                <c:pt idx="48">
                  <c:v>61.943512882715162</c:v>
                </c:pt>
                <c:pt idx="49">
                  <c:v>62.266630013420134</c:v>
                </c:pt>
                <c:pt idx="50">
                  <c:v>62.881261851864295</c:v>
                </c:pt>
                <c:pt idx="51">
                  <c:v>63.191206036876679</c:v>
                </c:pt>
                <c:pt idx="52">
                  <c:v>63.612579610056727</c:v>
                </c:pt>
                <c:pt idx="53">
                  <c:v>63.841261715058245</c:v>
                </c:pt>
                <c:pt idx="54">
                  <c:v>63.860472776897609</c:v>
                </c:pt>
                <c:pt idx="55">
                  <c:v>64.214991898762761</c:v>
                </c:pt>
                <c:pt idx="56">
                  <c:v>64.545702242994764</c:v>
                </c:pt>
                <c:pt idx="57">
                  <c:v>64.768067592688368</c:v>
                </c:pt>
                <c:pt idx="58">
                  <c:v>64.870823631477393</c:v>
                </c:pt>
                <c:pt idx="59">
                  <c:v>64.889791869482238</c:v>
                </c:pt>
                <c:pt idx="60">
                  <c:v>64.640019207927963</c:v>
                </c:pt>
                <c:pt idx="61">
                  <c:v>64.636091807968484</c:v>
                </c:pt>
                <c:pt idx="62">
                  <c:v>64.713219340550637</c:v>
                </c:pt>
                <c:pt idx="63">
                  <c:v>64.778398050593381</c:v>
                </c:pt>
                <c:pt idx="64">
                  <c:v>64.889176266744528</c:v>
                </c:pt>
                <c:pt idx="65">
                  <c:v>64.482679101574632</c:v>
                </c:pt>
                <c:pt idx="66">
                  <c:v>64.214450956146095</c:v>
                </c:pt>
                <c:pt idx="67">
                  <c:v>64.124038537136173</c:v>
                </c:pt>
                <c:pt idx="68">
                  <c:v>64.344436659066062</c:v>
                </c:pt>
                <c:pt idx="69">
                  <c:v>64.288645494514228</c:v>
                </c:pt>
                <c:pt idx="70">
                  <c:v>64.357281120644515</c:v>
                </c:pt>
                <c:pt idx="71">
                  <c:v>64.342453418108136</c:v>
                </c:pt>
                <c:pt idx="72">
                  <c:v>64.497740534587578</c:v>
                </c:pt>
                <c:pt idx="73">
                  <c:v>64.243047289104467</c:v>
                </c:pt>
                <c:pt idx="74">
                  <c:v>64.113301208808693</c:v>
                </c:pt>
                <c:pt idx="75">
                  <c:v>64.163833580339386</c:v>
                </c:pt>
                <c:pt idx="76">
                  <c:v>64.027504729108244</c:v>
                </c:pt>
                <c:pt idx="77">
                  <c:v>64.559635755178803</c:v>
                </c:pt>
                <c:pt idx="78">
                  <c:v>64.710888035795818</c:v>
                </c:pt>
                <c:pt idx="79">
                  <c:v>64.500571245079982</c:v>
                </c:pt>
                <c:pt idx="80">
                  <c:v>64.173377108900283</c:v>
                </c:pt>
                <c:pt idx="81">
                  <c:v>64.180397529453145</c:v>
                </c:pt>
                <c:pt idx="82">
                  <c:v>64.196322095176612</c:v>
                </c:pt>
                <c:pt idx="83">
                  <c:v>64.530536908846855</c:v>
                </c:pt>
                <c:pt idx="84">
                  <c:v>64.790481951318114</c:v>
                </c:pt>
                <c:pt idx="85">
                  <c:v>65.359932379124587</c:v>
                </c:pt>
                <c:pt idx="86">
                  <c:v>65.344753063947735</c:v>
                </c:pt>
                <c:pt idx="87">
                  <c:v>65.54865649174387</c:v>
                </c:pt>
                <c:pt idx="88">
                  <c:v>65.928269645914838</c:v>
                </c:pt>
                <c:pt idx="89">
                  <c:v>66.250491362190388</c:v>
                </c:pt>
                <c:pt idx="90">
                  <c:v>66.707705131971807</c:v>
                </c:pt>
                <c:pt idx="91">
                  <c:v>67.177938695933122</c:v>
                </c:pt>
                <c:pt idx="92">
                  <c:v>67.435657116836992</c:v>
                </c:pt>
                <c:pt idx="93">
                  <c:v>67.452771766798065</c:v>
                </c:pt>
                <c:pt idx="94">
                  <c:v>67.436712261745924</c:v>
                </c:pt>
                <c:pt idx="95">
                  <c:v>67.292307289708305</c:v>
                </c:pt>
                <c:pt idx="96">
                  <c:v>67.027895379072504</c:v>
                </c:pt>
                <c:pt idx="97">
                  <c:v>66.648139010413118</c:v>
                </c:pt>
                <c:pt idx="98">
                  <c:v>66.38469865382153</c:v>
                </c:pt>
                <c:pt idx="99">
                  <c:v>65.952370217699311</c:v>
                </c:pt>
                <c:pt idx="100">
                  <c:v>65.297238385479886</c:v>
                </c:pt>
                <c:pt idx="101">
                  <c:v>64.464011274743967</c:v>
                </c:pt>
                <c:pt idx="102">
                  <c:v>63.714128785160661</c:v>
                </c:pt>
                <c:pt idx="103">
                  <c:v>63.126891213361361</c:v>
                </c:pt>
                <c:pt idx="104">
                  <c:v>62.77473107964984</c:v>
                </c:pt>
                <c:pt idx="105">
                  <c:v>62.551985843261519</c:v>
                </c:pt>
                <c:pt idx="106">
                  <c:v>62.300727176388449</c:v>
                </c:pt>
                <c:pt idx="107">
                  <c:v>61.971136841082988</c:v>
                </c:pt>
                <c:pt idx="108">
                  <c:v>61.68225882609098</c:v>
                </c:pt>
                <c:pt idx="109">
                  <c:v>61.293742995328969</c:v>
                </c:pt>
                <c:pt idx="110">
                  <c:v>61.277630324122818</c:v>
                </c:pt>
                <c:pt idx="111">
                  <c:v>61.144200295340653</c:v>
                </c:pt>
                <c:pt idx="112">
                  <c:v>61.02977039106181</c:v>
                </c:pt>
                <c:pt idx="113">
                  <c:v>61.059732544995668</c:v>
                </c:pt>
                <c:pt idx="114">
                  <c:v>61.003475235800316</c:v>
                </c:pt>
                <c:pt idx="115">
                  <c:v>60.48898276058911</c:v>
                </c:pt>
                <c:pt idx="116">
                  <c:v>60.106399704167465</c:v>
                </c:pt>
                <c:pt idx="117">
                  <c:v>59.637001339087128</c:v>
                </c:pt>
                <c:pt idx="118">
                  <c:v>59.152439766797194</c:v>
                </c:pt>
                <c:pt idx="119">
                  <c:v>58.823857110487786</c:v>
                </c:pt>
                <c:pt idx="120">
                  <c:v>58.385242084763142</c:v>
                </c:pt>
                <c:pt idx="121">
                  <c:v>57.908564720238374</c:v>
                </c:pt>
                <c:pt idx="122">
                  <c:v>57.455119002460521</c:v>
                </c:pt>
                <c:pt idx="123">
                  <c:v>57.031691828196756</c:v>
                </c:pt>
                <c:pt idx="124">
                  <c:v>56.757931953090143</c:v>
                </c:pt>
                <c:pt idx="125">
                  <c:v>56.510056693975429</c:v>
                </c:pt>
                <c:pt idx="126">
                  <c:v>56.43731394076471</c:v>
                </c:pt>
                <c:pt idx="127">
                  <c:v>56.595578705723213</c:v>
                </c:pt>
                <c:pt idx="128">
                  <c:v>56.812492282167135</c:v>
                </c:pt>
                <c:pt idx="129">
                  <c:v>57.092243049832462</c:v>
                </c:pt>
                <c:pt idx="130">
                  <c:v>57.463921738908333</c:v>
                </c:pt>
                <c:pt idx="131">
                  <c:v>57.599347316558955</c:v>
                </c:pt>
                <c:pt idx="132">
                  <c:v>57.851361020975801</c:v>
                </c:pt>
                <c:pt idx="133">
                  <c:v>58.224673178061607</c:v>
                </c:pt>
                <c:pt idx="134">
                  <c:v>58.525675578069745</c:v>
                </c:pt>
                <c:pt idx="135">
                  <c:v>58.682322732529613</c:v>
                </c:pt>
                <c:pt idx="136">
                  <c:v>58.951274630146862</c:v>
                </c:pt>
                <c:pt idx="137">
                  <c:v>59.40092271432069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7-8437-477C-BC33-CB1C437DD8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4151168"/>
        <c:axId val="174152704"/>
        <c:extLst xmlns:c16r2="http://schemas.microsoft.com/office/drawing/2015/06/chart">
          <c:ext xmlns:c15="http://schemas.microsoft.com/office/drawing/2012/chart" uri="{02D57815-91ED-43cb-92C2-25804820EDAC}">
            <c15:filteredLineSeries>
              <c15:ser>
                <c:idx val="5"/>
                <c:order val="5"/>
                <c:tx>
                  <c:strRef>
                    <c:extLst>
                      <c:ext uri="{02D57815-91ED-43cb-92C2-25804820EDAC}">
                        <c15:formulaRef>
                          <c15:sqref>Summary2!$B$51</c15:sqref>
                        </c15:formulaRef>
                      </c:ext>
                    </c:extLst>
                    <c:strCache>
                      <c:ptCount val="1"/>
                      <c:pt idx="0">
                        <c:v>Port Authority (Pittsburgh)</c:v>
                      </c:pt>
                    </c:strCache>
                  </c:strRef>
                </c:tx>
                <c:spPr>
                  <a:ln w="28575" cap="rnd">
                    <a:solidFill>
                      <a:schemeClr val="accent6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>
                      <c:ext uri="{02D57815-91ED-43cb-92C2-25804820EDAC}">
                        <c15:formulaRef>
                          <c15:sqref>Summary2!$C$1:$EJ$1</c15:sqref>
                        </c15:formulaRef>
                      </c:ext>
                    </c:extLst>
                    <c:strCache>
                      <c:ptCount val="138"/>
                      <c:pt idx="0">
                        <c:v>JAN07</c:v>
                      </c:pt>
                      <c:pt idx="1">
                        <c:v>FEB07</c:v>
                      </c:pt>
                      <c:pt idx="2">
                        <c:v>MAR07</c:v>
                      </c:pt>
                      <c:pt idx="3">
                        <c:v>APR07</c:v>
                      </c:pt>
                      <c:pt idx="4">
                        <c:v>MAY07</c:v>
                      </c:pt>
                      <c:pt idx="5">
                        <c:v>JUN07</c:v>
                      </c:pt>
                      <c:pt idx="6">
                        <c:v>JUL07</c:v>
                      </c:pt>
                      <c:pt idx="7">
                        <c:v>AUG07</c:v>
                      </c:pt>
                      <c:pt idx="8">
                        <c:v>SEP07</c:v>
                      </c:pt>
                      <c:pt idx="9">
                        <c:v>OCT07</c:v>
                      </c:pt>
                      <c:pt idx="10">
                        <c:v>NOV07</c:v>
                      </c:pt>
                      <c:pt idx="11">
                        <c:v>DEC07</c:v>
                      </c:pt>
                      <c:pt idx="12">
                        <c:v>JAN08</c:v>
                      </c:pt>
                      <c:pt idx="13">
                        <c:v>FEB08</c:v>
                      </c:pt>
                      <c:pt idx="14">
                        <c:v>MAR08</c:v>
                      </c:pt>
                      <c:pt idx="15">
                        <c:v>APR08</c:v>
                      </c:pt>
                      <c:pt idx="16">
                        <c:v>MAY08</c:v>
                      </c:pt>
                      <c:pt idx="17">
                        <c:v>JUN08</c:v>
                      </c:pt>
                      <c:pt idx="18">
                        <c:v>JUL08</c:v>
                      </c:pt>
                      <c:pt idx="19">
                        <c:v>AUG08</c:v>
                      </c:pt>
                      <c:pt idx="20">
                        <c:v>SEP08</c:v>
                      </c:pt>
                      <c:pt idx="21">
                        <c:v>OCT08</c:v>
                      </c:pt>
                      <c:pt idx="22">
                        <c:v>NOV08</c:v>
                      </c:pt>
                      <c:pt idx="23">
                        <c:v>DEC08</c:v>
                      </c:pt>
                      <c:pt idx="24">
                        <c:v>JAN09</c:v>
                      </c:pt>
                      <c:pt idx="25">
                        <c:v>FEB09</c:v>
                      </c:pt>
                      <c:pt idx="26">
                        <c:v>MAR09</c:v>
                      </c:pt>
                      <c:pt idx="27">
                        <c:v>APR09</c:v>
                      </c:pt>
                      <c:pt idx="28">
                        <c:v>MAY09</c:v>
                      </c:pt>
                      <c:pt idx="29">
                        <c:v>JUN09</c:v>
                      </c:pt>
                      <c:pt idx="30">
                        <c:v>JUL09</c:v>
                      </c:pt>
                      <c:pt idx="31">
                        <c:v>AUG09</c:v>
                      </c:pt>
                      <c:pt idx="32">
                        <c:v>SEP09</c:v>
                      </c:pt>
                      <c:pt idx="33">
                        <c:v>OCT09</c:v>
                      </c:pt>
                      <c:pt idx="34">
                        <c:v>NOV09</c:v>
                      </c:pt>
                      <c:pt idx="35">
                        <c:v>DEC09</c:v>
                      </c:pt>
                      <c:pt idx="36">
                        <c:v>JAN10</c:v>
                      </c:pt>
                      <c:pt idx="37">
                        <c:v>FEB10</c:v>
                      </c:pt>
                      <c:pt idx="38">
                        <c:v>MAR10</c:v>
                      </c:pt>
                      <c:pt idx="39">
                        <c:v>APR10</c:v>
                      </c:pt>
                      <c:pt idx="40">
                        <c:v>MAY10</c:v>
                      </c:pt>
                      <c:pt idx="41">
                        <c:v>JUN10</c:v>
                      </c:pt>
                      <c:pt idx="42">
                        <c:v>JUL10</c:v>
                      </c:pt>
                      <c:pt idx="43">
                        <c:v>AUG10</c:v>
                      </c:pt>
                      <c:pt idx="44">
                        <c:v>SEP10</c:v>
                      </c:pt>
                      <c:pt idx="45">
                        <c:v>OCT10</c:v>
                      </c:pt>
                      <c:pt idx="46">
                        <c:v>NOV10</c:v>
                      </c:pt>
                      <c:pt idx="47">
                        <c:v>DEC10</c:v>
                      </c:pt>
                      <c:pt idx="48">
                        <c:v>JAN11</c:v>
                      </c:pt>
                      <c:pt idx="49">
                        <c:v>FEB11</c:v>
                      </c:pt>
                      <c:pt idx="50">
                        <c:v>MAR11</c:v>
                      </c:pt>
                      <c:pt idx="51">
                        <c:v>APR11</c:v>
                      </c:pt>
                      <c:pt idx="52">
                        <c:v>MAY11</c:v>
                      </c:pt>
                      <c:pt idx="53">
                        <c:v>JUN11</c:v>
                      </c:pt>
                      <c:pt idx="54">
                        <c:v>JUL11</c:v>
                      </c:pt>
                      <c:pt idx="55">
                        <c:v>AUG11</c:v>
                      </c:pt>
                      <c:pt idx="56">
                        <c:v>SEP11</c:v>
                      </c:pt>
                      <c:pt idx="57">
                        <c:v>OCT11</c:v>
                      </c:pt>
                      <c:pt idx="58">
                        <c:v>NOV11</c:v>
                      </c:pt>
                      <c:pt idx="59">
                        <c:v>DEC11</c:v>
                      </c:pt>
                      <c:pt idx="60">
                        <c:v>JAN12</c:v>
                      </c:pt>
                      <c:pt idx="61">
                        <c:v>FEB12</c:v>
                      </c:pt>
                      <c:pt idx="62">
                        <c:v>MAR12</c:v>
                      </c:pt>
                      <c:pt idx="63">
                        <c:v>APR12</c:v>
                      </c:pt>
                      <c:pt idx="64">
                        <c:v>MAY12</c:v>
                      </c:pt>
                      <c:pt idx="65">
                        <c:v>JUN12</c:v>
                      </c:pt>
                      <c:pt idx="66">
                        <c:v>JUL12</c:v>
                      </c:pt>
                      <c:pt idx="67">
                        <c:v>AUG12</c:v>
                      </c:pt>
                      <c:pt idx="68">
                        <c:v>SEP12</c:v>
                      </c:pt>
                      <c:pt idx="69">
                        <c:v>OCT12</c:v>
                      </c:pt>
                      <c:pt idx="70">
                        <c:v>NOV12</c:v>
                      </c:pt>
                      <c:pt idx="71">
                        <c:v>DEC12</c:v>
                      </c:pt>
                      <c:pt idx="72">
                        <c:v>JAN13</c:v>
                      </c:pt>
                      <c:pt idx="73">
                        <c:v>FEB13</c:v>
                      </c:pt>
                      <c:pt idx="74">
                        <c:v>MAR13</c:v>
                      </c:pt>
                      <c:pt idx="75">
                        <c:v>APR13</c:v>
                      </c:pt>
                      <c:pt idx="76">
                        <c:v>MAY13</c:v>
                      </c:pt>
                      <c:pt idx="77">
                        <c:v>JUN13</c:v>
                      </c:pt>
                      <c:pt idx="78">
                        <c:v>JUL13</c:v>
                      </c:pt>
                      <c:pt idx="79">
                        <c:v>AUG13</c:v>
                      </c:pt>
                      <c:pt idx="80">
                        <c:v>SEP13</c:v>
                      </c:pt>
                      <c:pt idx="81">
                        <c:v>OCT13</c:v>
                      </c:pt>
                      <c:pt idx="82">
                        <c:v>NOV13</c:v>
                      </c:pt>
                      <c:pt idx="83">
                        <c:v>DEC13</c:v>
                      </c:pt>
                      <c:pt idx="84">
                        <c:v>JAN14</c:v>
                      </c:pt>
                      <c:pt idx="85">
                        <c:v>FEB14</c:v>
                      </c:pt>
                      <c:pt idx="86">
                        <c:v>MAR14</c:v>
                      </c:pt>
                      <c:pt idx="87">
                        <c:v>APR14</c:v>
                      </c:pt>
                      <c:pt idx="88">
                        <c:v>MAY14</c:v>
                      </c:pt>
                      <c:pt idx="89">
                        <c:v>JUN14</c:v>
                      </c:pt>
                      <c:pt idx="90">
                        <c:v>JUL14</c:v>
                      </c:pt>
                      <c:pt idx="91">
                        <c:v>AUG14</c:v>
                      </c:pt>
                      <c:pt idx="92">
                        <c:v>SEP14</c:v>
                      </c:pt>
                      <c:pt idx="93">
                        <c:v>OCT14</c:v>
                      </c:pt>
                      <c:pt idx="94">
                        <c:v>NOV14</c:v>
                      </c:pt>
                      <c:pt idx="95">
                        <c:v>DEC14</c:v>
                      </c:pt>
                      <c:pt idx="96">
                        <c:v>JAN15</c:v>
                      </c:pt>
                      <c:pt idx="97">
                        <c:v>FEB15</c:v>
                      </c:pt>
                      <c:pt idx="98">
                        <c:v>MAR15</c:v>
                      </c:pt>
                      <c:pt idx="99">
                        <c:v>APR15</c:v>
                      </c:pt>
                      <c:pt idx="100">
                        <c:v>MAY15</c:v>
                      </c:pt>
                      <c:pt idx="101">
                        <c:v>JUN15</c:v>
                      </c:pt>
                      <c:pt idx="102">
                        <c:v>JUL15</c:v>
                      </c:pt>
                      <c:pt idx="103">
                        <c:v>AUG15</c:v>
                      </c:pt>
                      <c:pt idx="104">
                        <c:v>SEP15</c:v>
                      </c:pt>
                      <c:pt idx="105">
                        <c:v>OCT15</c:v>
                      </c:pt>
                      <c:pt idx="106">
                        <c:v>NOV15</c:v>
                      </c:pt>
                      <c:pt idx="107">
                        <c:v>DEC15</c:v>
                      </c:pt>
                      <c:pt idx="108">
                        <c:v>JAN16</c:v>
                      </c:pt>
                      <c:pt idx="109">
                        <c:v>FEB16</c:v>
                      </c:pt>
                      <c:pt idx="110">
                        <c:v>MAR16</c:v>
                      </c:pt>
                      <c:pt idx="111">
                        <c:v>APR16</c:v>
                      </c:pt>
                      <c:pt idx="112">
                        <c:v>MAY16</c:v>
                      </c:pt>
                      <c:pt idx="113">
                        <c:v>JUN16</c:v>
                      </c:pt>
                      <c:pt idx="114">
                        <c:v>JUL16</c:v>
                      </c:pt>
                      <c:pt idx="115">
                        <c:v>AUG16</c:v>
                      </c:pt>
                      <c:pt idx="116">
                        <c:v>SEP16</c:v>
                      </c:pt>
                      <c:pt idx="117">
                        <c:v>OCT16</c:v>
                      </c:pt>
                      <c:pt idx="118">
                        <c:v>NOV16</c:v>
                      </c:pt>
                      <c:pt idx="119">
                        <c:v>DEC16</c:v>
                      </c:pt>
                      <c:pt idx="120">
                        <c:v>JAN17</c:v>
                      </c:pt>
                      <c:pt idx="121">
                        <c:v>FEB17</c:v>
                      </c:pt>
                      <c:pt idx="122">
                        <c:v>MAR17</c:v>
                      </c:pt>
                      <c:pt idx="123">
                        <c:v>APR17</c:v>
                      </c:pt>
                      <c:pt idx="124">
                        <c:v>MAY17</c:v>
                      </c:pt>
                      <c:pt idx="125">
                        <c:v>JUN17</c:v>
                      </c:pt>
                      <c:pt idx="126">
                        <c:v>JUL17</c:v>
                      </c:pt>
                      <c:pt idx="127">
                        <c:v>AUG17</c:v>
                      </c:pt>
                      <c:pt idx="128">
                        <c:v>SEP17</c:v>
                      </c:pt>
                      <c:pt idx="129">
                        <c:v>OCT17</c:v>
                      </c:pt>
                      <c:pt idx="130">
                        <c:v>NOV17</c:v>
                      </c:pt>
                      <c:pt idx="131">
                        <c:v>DEC17</c:v>
                      </c:pt>
                      <c:pt idx="132">
                        <c:v>JAN18</c:v>
                      </c:pt>
                      <c:pt idx="133">
                        <c:v>FEB18</c:v>
                      </c:pt>
                      <c:pt idx="134">
                        <c:v>MAR18</c:v>
                      </c:pt>
                      <c:pt idx="135">
                        <c:v>APR18</c:v>
                      </c:pt>
                      <c:pt idx="136">
                        <c:v>MAY18</c:v>
                      </c:pt>
                      <c:pt idx="137">
                        <c:v>JUN18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ummary2!$C$51:$EJ$51</c15:sqref>
                        </c15:formulaRef>
                      </c:ext>
                    </c:extLst>
                    <c:numCache>
                      <c:formatCode>General</c:formatCode>
                      <c:ptCount val="138"/>
                      <c:pt idx="0">
                        <c:v>29.312141157861525</c:v>
                      </c:pt>
                      <c:pt idx="1">
                        <c:v>29.351170375066488</c:v>
                      </c:pt>
                      <c:pt idx="2">
                        <c:v>29.200288715135049</c:v>
                      </c:pt>
                      <c:pt idx="3">
                        <c:v>29.005870809421825</c:v>
                      </c:pt>
                      <c:pt idx="4">
                        <c:v>28.979148454984568</c:v>
                      </c:pt>
                      <c:pt idx="5">
                        <c:v>29.004941570820542</c:v>
                      </c:pt>
                      <c:pt idx="6">
                        <c:v>29.135982450012634</c:v>
                      </c:pt>
                      <c:pt idx="7">
                        <c:v>29.377516957719937</c:v>
                      </c:pt>
                      <c:pt idx="8">
                        <c:v>29.699453363163645</c:v>
                      </c:pt>
                      <c:pt idx="9">
                        <c:v>29.659787944256685</c:v>
                      </c:pt>
                      <c:pt idx="10">
                        <c:v>29.705845209950752</c:v>
                      </c:pt>
                      <c:pt idx="11">
                        <c:v>29.839430750741545</c:v>
                      </c:pt>
                      <c:pt idx="12">
                        <c:v>30.099340624770079</c:v>
                      </c:pt>
                      <c:pt idx="13">
                        <c:v>30.320432209835282</c:v>
                      </c:pt>
                      <c:pt idx="14">
                        <c:v>30.643466467214122</c:v>
                      </c:pt>
                      <c:pt idx="15">
                        <c:v>30.651095550199859</c:v>
                      </c:pt>
                      <c:pt idx="16">
                        <c:v>30.978230382234415</c:v>
                      </c:pt>
                      <c:pt idx="17">
                        <c:v>31.28105325113107</c:v>
                      </c:pt>
                      <c:pt idx="18">
                        <c:v>31.476386568733069</c:v>
                      </c:pt>
                      <c:pt idx="19">
                        <c:v>31.630202334655792</c:v>
                      </c:pt>
                      <c:pt idx="20">
                        <c:v>31.696248382356888</c:v>
                      </c:pt>
                      <c:pt idx="21">
                        <c:v>32.133786741877245</c:v>
                      </c:pt>
                      <c:pt idx="22">
                        <c:v>32.533916459999446</c:v>
                      </c:pt>
                      <c:pt idx="23">
                        <c:v>32.739616890421246</c:v>
                      </c:pt>
                      <c:pt idx="24">
                        <c:v>32.749763370877922</c:v>
                      </c:pt>
                      <c:pt idx="25">
                        <c:v>32.679385988053397</c:v>
                      </c:pt>
                      <c:pt idx="26">
                        <c:v>32.865899983831831</c:v>
                      </c:pt>
                      <c:pt idx="27">
                        <c:v>33.529218367709845</c:v>
                      </c:pt>
                      <c:pt idx="28">
                        <c:v>33.484876662349059</c:v>
                      </c:pt>
                      <c:pt idx="29">
                        <c:v>33.477404405901517</c:v>
                      </c:pt>
                      <c:pt idx="30">
                        <c:v>33.453204703610531</c:v>
                      </c:pt>
                      <c:pt idx="31">
                        <c:v>33.380682577407541</c:v>
                      </c:pt>
                      <c:pt idx="32">
                        <c:v>33.343771288134491</c:v>
                      </c:pt>
                      <c:pt idx="33">
                        <c:v>33.075782386567369</c:v>
                      </c:pt>
                      <c:pt idx="34">
                        <c:v>32.949115900637807</c:v>
                      </c:pt>
                      <c:pt idx="35">
                        <c:v>32.852345534467055</c:v>
                      </c:pt>
                      <c:pt idx="36">
                        <c:v>32.817739215997783</c:v>
                      </c:pt>
                      <c:pt idx="37">
                        <c:v>32.864302560743198</c:v>
                      </c:pt>
                      <c:pt idx="38">
                        <c:v>32.450807940509058</c:v>
                      </c:pt>
                      <c:pt idx="39">
                        <c:v>32.410250605715532</c:v>
                      </c:pt>
                      <c:pt idx="40">
                        <c:v>32.278574689663571</c:v>
                      </c:pt>
                      <c:pt idx="41">
                        <c:v>32.149622705835554</c:v>
                      </c:pt>
                      <c:pt idx="42">
                        <c:v>31.987818414589299</c:v>
                      </c:pt>
                      <c:pt idx="43">
                        <c:v>31.815122535387129</c:v>
                      </c:pt>
                      <c:pt idx="44">
                        <c:v>31.62820983904308</c:v>
                      </c:pt>
                      <c:pt idx="45">
                        <c:v>31.665573999044483</c:v>
                      </c:pt>
                      <c:pt idx="46">
                        <c:v>31.621437456736437</c:v>
                      </c:pt>
                      <c:pt idx="47">
                        <c:v>31.608061928806244</c:v>
                      </c:pt>
                      <c:pt idx="48">
                        <c:v>31.459527353502803</c:v>
                      </c:pt>
                      <c:pt idx="49">
                        <c:v>31.765808088989683</c:v>
                      </c:pt>
                      <c:pt idx="50">
                        <c:v>32.280505745898566</c:v>
                      </c:pt>
                      <c:pt idx="51">
                        <c:v>32.724689904665887</c:v>
                      </c:pt>
                      <c:pt idx="52">
                        <c:v>33.258814080136304</c:v>
                      </c:pt>
                      <c:pt idx="53">
                        <c:v>33.855675700581941</c:v>
                      </c:pt>
                      <c:pt idx="54">
                        <c:v>34.527209739896144</c:v>
                      </c:pt>
                      <c:pt idx="55">
                        <c:v>35.358490181485394</c:v>
                      </c:pt>
                      <c:pt idx="56">
                        <c:v>36.215670376351397</c:v>
                      </c:pt>
                      <c:pt idx="57">
                        <c:v>36.615882186812023</c:v>
                      </c:pt>
                      <c:pt idx="58">
                        <c:v>37.466808762152233</c:v>
                      </c:pt>
                      <c:pt idx="59">
                        <c:v>37.925997284459243</c:v>
                      </c:pt>
                      <c:pt idx="60">
                        <c:v>38.697802986377027</c:v>
                      </c:pt>
                      <c:pt idx="61">
                        <c:v>38.805881047794998</c:v>
                      </c:pt>
                      <c:pt idx="62">
                        <c:v>38.91997847858147</c:v>
                      </c:pt>
                      <c:pt idx="63">
                        <c:v>38.838046881203283</c:v>
                      </c:pt>
                      <c:pt idx="64">
                        <c:v>38.743098568180507</c:v>
                      </c:pt>
                      <c:pt idx="65">
                        <c:v>38.665299638487205</c:v>
                      </c:pt>
                      <c:pt idx="66">
                        <c:v>38.449097212779485</c:v>
                      </c:pt>
                      <c:pt idx="67">
                        <c:v>38.064721373370141</c:v>
                      </c:pt>
                      <c:pt idx="68">
                        <c:v>37.735940892788889</c:v>
                      </c:pt>
                      <c:pt idx="69">
                        <c:v>37.806508960298991</c:v>
                      </c:pt>
                      <c:pt idx="70">
                        <c:v>37.394729749719851</c:v>
                      </c:pt>
                      <c:pt idx="71">
                        <c:v>37.429658413414757</c:v>
                      </c:pt>
                      <c:pt idx="72">
                        <c:v>37.280994798966745</c:v>
                      </c:pt>
                      <c:pt idx="73">
                        <c:v>37.183433424904052</c:v>
                      </c:pt>
                      <c:pt idx="74">
                        <c:v>37.187588574773081</c:v>
                      </c:pt>
                      <c:pt idx="75">
                        <c:v>36.872797461273876</c:v>
                      </c:pt>
                      <c:pt idx="76">
                        <c:v>36.811847116496395</c:v>
                      </c:pt>
                      <c:pt idx="77">
                        <c:v>36.659626672459808</c:v>
                      </c:pt>
                      <c:pt idx="78">
                        <c:v>36.559682775357523</c:v>
                      </c:pt>
                      <c:pt idx="79">
                        <c:v>36.509525231822415</c:v>
                      </c:pt>
                      <c:pt idx="80">
                        <c:v>36.580848109796605</c:v>
                      </c:pt>
                      <c:pt idx="81">
                        <c:v>36.533639585552969</c:v>
                      </c:pt>
                      <c:pt idx="82">
                        <c:v>36.536286608511091</c:v>
                      </c:pt>
                      <c:pt idx="83">
                        <c:v>36.495571696425209</c:v>
                      </c:pt>
                      <c:pt idx="84">
                        <c:v>36.420866172667431</c:v>
                      </c:pt>
                      <c:pt idx="85">
                        <c:v>36.162979526600822</c:v>
                      </c:pt>
                      <c:pt idx="86">
                        <c:v>36.067352056202672</c:v>
                      </c:pt>
                      <c:pt idx="87">
                        <c:v>36.13231489583729</c:v>
                      </c:pt>
                      <c:pt idx="88">
                        <c:v>36.188973419486928</c:v>
                      </c:pt>
                      <c:pt idx="89">
                        <c:v>36.19645106082865</c:v>
                      </c:pt>
                      <c:pt idx="90">
                        <c:v>36.23399113045933</c:v>
                      </c:pt>
                      <c:pt idx="91">
                        <c:v>36.545521164208537</c:v>
                      </c:pt>
                      <c:pt idx="92">
                        <c:v>36.556513238344706</c:v>
                      </c:pt>
                      <c:pt idx="93">
                        <c:v>36.676532955813812</c:v>
                      </c:pt>
                      <c:pt idx="94">
                        <c:v>36.5916238533597</c:v>
                      </c:pt>
                      <c:pt idx="95">
                        <c:v>36.365735003747091</c:v>
                      </c:pt>
                      <c:pt idx="96">
                        <c:v>36.351211671760751</c:v>
                      </c:pt>
                      <c:pt idx="97">
                        <c:v>36.488357269737961</c:v>
                      </c:pt>
                      <c:pt idx="98">
                        <c:v>36.28534988035895</c:v>
                      </c:pt>
                      <c:pt idx="99">
                        <c:v>35.987154605749907</c:v>
                      </c:pt>
                      <c:pt idx="100">
                        <c:v>35.804443692410615</c:v>
                      </c:pt>
                      <c:pt idx="101">
                        <c:v>35.619667950957748</c:v>
                      </c:pt>
                      <c:pt idx="102">
                        <c:v>35.522216457686035</c:v>
                      </c:pt>
                      <c:pt idx="103">
                        <c:v>35.082584973315434</c:v>
                      </c:pt>
                      <c:pt idx="104">
                        <c:v>34.767434919433796</c:v>
                      </c:pt>
                      <c:pt idx="105">
                        <c:v>34.405257300300079</c:v>
                      </c:pt>
                      <c:pt idx="106">
                        <c:v>34.254507960622568</c:v>
                      </c:pt>
                      <c:pt idx="107">
                        <c:v>34.197358294384784</c:v>
                      </c:pt>
                      <c:pt idx="108">
                        <c:v>34.191857833451586</c:v>
                      </c:pt>
                      <c:pt idx="109">
                        <c:v>34.019103638606623</c:v>
                      </c:pt>
                      <c:pt idx="110">
                        <c:v>34.042232634411938</c:v>
                      </c:pt>
                      <c:pt idx="111">
                        <c:v>34.07212860582861</c:v>
                      </c:pt>
                      <c:pt idx="112">
                        <c:v>33.946955007253216</c:v>
                      </c:pt>
                      <c:pt idx="113">
                        <c:v>33.856649850141025</c:v>
                      </c:pt>
                      <c:pt idx="114">
                        <c:v>33.781462760048363</c:v>
                      </c:pt>
                      <c:pt idx="115">
                        <c:v>33.700986245074454</c:v>
                      </c:pt>
                      <c:pt idx="116">
                        <c:v>33.660718315580432</c:v>
                      </c:pt>
                      <c:pt idx="117">
                        <c:v>33.776257224972355</c:v>
                      </c:pt>
                      <c:pt idx="118">
                        <c:v>33.738308584227546</c:v>
                      </c:pt>
                      <c:pt idx="119">
                        <c:v>33.67909698130147</c:v>
                      </c:pt>
                      <c:pt idx="120">
                        <c:v>33.522533375735016</c:v>
                      </c:pt>
                      <c:pt idx="121">
                        <c:v>33.446025009031111</c:v>
                      </c:pt>
                      <c:pt idx="122">
                        <c:v>33.463740079210751</c:v>
                      </c:pt>
                      <c:pt idx="123">
                        <c:v>33.423055043150804</c:v>
                      </c:pt>
                      <c:pt idx="124">
                        <c:v>33.340498755757935</c:v>
                      </c:pt>
                      <c:pt idx="125">
                        <c:v>33.298026326008817</c:v>
                      </c:pt>
                      <c:pt idx="126">
                        <c:v>33.166346429212609</c:v>
                      </c:pt>
                      <c:pt idx="127">
                        <c:v>32.977330999480515</c:v>
                      </c:pt>
                      <c:pt idx="128">
                        <c:v>32.973347327487986</c:v>
                      </c:pt>
                      <c:pt idx="129">
                        <c:v>32.916518121479477</c:v>
                      </c:pt>
                      <c:pt idx="130">
                        <c:v>32.981102978138907</c:v>
                      </c:pt>
                      <c:pt idx="131">
                        <c:v>33.137784188901364</c:v>
                      </c:pt>
                      <c:pt idx="132">
                        <c:v>33.170420892824147</c:v>
                      </c:pt>
                      <c:pt idx="133">
                        <c:v>33.158498758724356</c:v>
                      </c:pt>
                      <c:pt idx="134">
                        <c:v>33.220657080625251</c:v>
                      </c:pt>
                      <c:pt idx="135">
                        <c:v>33.322618718719283</c:v>
                      </c:pt>
                      <c:pt idx="136">
                        <c:v>33.442677244026008</c:v>
                      </c:pt>
                      <c:pt idx="137">
                        <c:v>33.565993372475141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8-8437-477C-BC33-CB1C437DD8FC}"/>
                  </c:ext>
                </c:extLst>
              </c15:ser>
            </c15:filteredLineSeries>
          </c:ext>
        </c:extLst>
      </c:lineChart>
      <c:catAx>
        <c:axId val="174151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152704"/>
        <c:crosses val="autoZero"/>
        <c:auto val="1"/>
        <c:lblAlgn val="ctr"/>
        <c:lblOffset val="100"/>
        <c:noMultiLvlLbl val="0"/>
      </c:catAx>
      <c:valAx>
        <c:axId val="1741527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 smtClean="0"/>
                  <a:t>UPT per Revenue Vehicle Hour, All Bus Service</a:t>
                </a:r>
                <a:endParaRPr 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1511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Avg Weekday CR Ridership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rgbClr val="CC00CC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rgbClr val="CC00CC"/>
              </a:solidFill>
              <a:ln w="9525">
                <a:solidFill>
                  <a:srgbClr val="CC00CC"/>
                </a:solidFill>
              </a:ln>
              <a:effectLst/>
            </c:spPr>
          </c:marker>
          <c:cat>
            <c:numRef>
              <c:f>Sheet2!$A$2:$A$40</c:f>
              <c:numCache>
                <c:formatCode>m/d/yyyy</c:formatCode>
                <c:ptCount val="39"/>
                <c:pt idx="0">
                  <c:v>41091</c:v>
                </c:pt>
                <c:pt idx="1">
                  <c:v>41456</c:v>
                </c:pt>
                <c:pt idx="2">
                  <c:v>41821</c:v>
                </c:pt>
                <c:pt idx="3" formatCode="m/d/yyyy\ h:mm">
                  <c:v>42186</c:v>
                </c:pt>
                <c:pt idx="4" formatCode="m/d/yyyy\ h:mm">
                  <c:v>42217</c:v>
                </c:pt>
                <c:pt idx="5" formatCode="m/d/yyyy\ h:mm">
                  <c:v>42248</c:v>
                </c:pt>
                <c:pt idx="6" formatCode="m/d/yyyy\ h:mm">
                  <c:v>42278</c:v>
                </c:pt>
                <c:pt idx="7" formatCode="m/d/yyyy\ h:mm">
                  <c:v>42309</c:v>
                </c:pt>
                <c:pt idx="8" formatCode="m/d/yyyy\ h:mm">
                  <c:v>42339</c:v>
                </c:pt>
                <c:pt idx="9" formatCode="m/d/yyyy\ h:mm">
                  <c:v>42370</c:v>
                </c:pt>
                <c:pt idx="10" formatCode="m/d/yyyy\ h:mm">
                  <c:v>42401</c:v>
                </c:pt>
                <c:pt idx="11" formatCode="m/d/yyyy\ h:mm">
                  <c:v>42430</c:v>
                </c:pt>
                <c:pt idx="12" formatCode="m/d/yyyy\ h:mm">
                  <c:v>42461</c:v>
                </c:pt>
                <c:pt idx="13" formatCode="m/d/yyyy\ h:mm">
                  <c:v>42491</c:v>
                </c:pt>
                <c:pt idx="14" formatCode="m/d/yyyy\ h:mm">
                  <c:v>42522</c:v>
                </c:pt>
                <c:pt idx="15" formatCode="m/d/yyyy\ h:mm">
                  <c:v>42552</c:v>
                </c:pt>
                <c:pt idx="16" formatCode="m/d/yyyy\ h:mm">
                  <c:v>42583</c:v>
                </c:pt>
                <c:pt idx="17" formatCode="m/d/yyyy\ h:mm">
                  <c:v>42614</c:v>
                </c:pt>
                <c:pt idx="18" formatCode="m/d/yyyy\ h:mm">
                  <c:v>42644</c:v>
                </c:pt>
                <c:pt idx="19" formatCode="m/d/yyyy\ h:mm">
                  <c:v>42675</c:v>
                </c:pt>
                <c:pt idx="20" formatCode="m/d/yyyy\ h:mm">
                  <c:v>42705</c:v>
                </c:pt>
                <c:pt idx="21" formatCode="m/d/yyyy\ h:mm">
                  <c:v>42736</c:v>
                </c:pt>
                <c:pt idx="22" formatCode="m/d/yyyy\ h:mm">
                  <c:v>42767</c:v>
                </c:pt>
                <c:pt idx="23" formatCode="m/d/yyyy\ h:mm">
                  <c:v>42795</c:v>
                </c:pt>
                <c:pt idx="24" formatCode="m/d/yyyy\ h:mm">
                  <c:v>42826</c:v>
                </c:pt>
                <c:pt idx="25" formatCode="m/d/yyyy\ h:mm">
                  <c:v>42856</c:v>
                </c:pt>
                <c:pt idx="26" formatCode="m/d/yyyy\ h:mm">
                  <c:v>42887</c:v>
                </c:pt>
                <c:pt idx="27" formatCode="m/d/yyyy\ h:mm">
                  <c:v>42917</c:v>
                </c:pt>
                <c:pt idx="28" formatCode="m/d/yyyy\ h:mm">
                  <c:v>42948</c:v>
                </c:pt>
                <c:pt idx="29" formatCode="m/d/yyyy\ h:mm">
                  <c:v>42979</c:v>
                </c:pt>
                <c:pt idx="30" formatCode="m/d/yyyy\ h:mm">
                  <c:v>43009</c:v>
                </c:pt>
                <c:pt idx="31" formatCode="m/d/yyyy\ h:mm">
                  <c:v>43040</c:v>
                </c:pt>
                <c:pt idx="32" formatCode="m/d/yyyy\ h:mm">
                  <c:v>43070</c:v>
                </c:pt>
                <c:pt idx="33" formatCode="m/d/yyyy\ h:mm">
                  <c:v>43101</c:v>
                </c:pt>
                <c:pt idx="34" formatCode="m/d/yyyy\ h:mm">
                  <c:v>43132</c:v>
                </c:pt>
                <c:pt idx="35" formatCode="m/d/yyyy\ h:mm">
                  <c:v>43160</c:v>
                </c:pt>
                <c:pt idx="36" formatCode="m/d/yyyy\ h:mm">
                  <c:v>43191</c:v>
                </c:pt>
                <c:pt idx="37" formatCode="m/d/yyyy\ h:mm">
                  <c:v>43221</c:v>
                </c:pt>
                <c:pt idx="38" formatCode="m/d/yyyy\ h:mm">
                  <c:v>43252</c:v>
                </c:pt>
              </c:numCache>
            </c:numRef>
          </c:cat>
          <c:val>
            <c:numRef>
              <c:f>Sheet2!$B$2:$B$40</c:f>
              <c:numCache>
                <c:formatCode>_(* #,##0_);_(* \(#,##0\);_(* "-"??_);_(@_)</c:formatCode>
                <c:ptCount val="39"/>
                <c:pt idx="0">
                  <c:v>131161</c:v>
                </c:pt>
                <c:pt idx="1">
                  <c:v>129024</c:v>
                </c:pt>
                <c:pt idx="2">
                  <c:v>128916</c:v>
                </c:pt>
                <c:pt idx="3" formatCode="General">
                  <c:v>122058.89397887007</c:v>
                </c:pt>
                <c:pt idx="4" formatCode="General">
                  <c:v>121490.8318756955</c:v>
                </c:pt>
                <c:pt idx="5" formatCode="General">
                  <c:v>121612.92885982242</c:v>
                </c:pt>
                <c:pt idx="6" formatCode="General">
                  <c:v>121506.78259170649</c:v>
                </c:pt>
                <c:pt idx="7" formatCode="General">
                  <c:v>121186.30553030303</c:v>
                </c:pt>
                <c:pt idx="8" formatCode="General">
                  <c:v>120519.89</c:v>
                </c:pt>
                <c:pt idx="9" formatCode="General">
                  <c:v>121389.80166666665</c:v>
                </c:pt>
                <c:pt idx="10" formatCode="General">
                  <c:v>123842.24916666666</c:v>
                </c:pt>
                <c:pt idx="11" formatCode="General">
                  <c:v>125922.52500000002</c:v>
                </c:pt>
                <c:pt idx="12" formatCode="General">
                  <c:v>125319.55250000001</c:v>
                </c:pt>
                <c:pt idx="13" formatCode="General">
                  <c:v>125205.44083333331</c:v>
                </c:pt>
                <c:pt idx="14" formatCode="General">
                  <c:v>126021.49749999997</c:v>
                </c:pt>
                <c:pt idx="15" formatCode="General">
                  <c:v>126534.73583333331</c:v>
                </c:pt>
                <c:pt idx="16" formatCode="General">
                  <c:v>126521.84416666668</c:v>
                </c:pt>
                <c:pt idx="17" formatCode="General">
                  <c:v>126223.09249999997</c:v>
                </c:pt>
                <c:pt idx="18" formatCode="General">
                  <c:v>125734.02499999998</c:v>
                </c:pt>
                <c:pt idx="19" formatCode="General">
                  <c:v>125516.86833333333</c:v>
                </c:pt>
                <c:pt idx="20" formatCode="General">
                  <c:v>125723.27083333333</c:v>
                </c:pt>
                <c:pt idx="21" formatCode="General">
                  <c:v>125325.42416666665</c:v>
                </c:pt>
                <c:pt idx="22" formatCode="General">
                  <c:v>125710.43666666662</c:v>
                </c:pt>
                <c:pt idx="23" formatCode="General">
                  <c:v>125595.40166666667</c:v>
                </c:pt>
                <c:pt idx="24" formatCode="General">
                  <c:v>125784.25083333334</c:v>
                </c:pt>
                <c:pt idx="25" formatCode="General">
                  <c:v>125970.86</c:v>
                </c:pt>
                <c:pt idx="26" formatCode="General">
                  <c:v>125259.14416666665</c:v>
                </c:pt>
                <c:pt idx="27" formatCode="General">
                  <c:v>124763.5775</c:v>
                </c:pt>
                <c:pt idx="28" formatCode="General">
                  <c:v>124794.60666666667</c:v>
                </c:pt>
                <c:pt idx="29" formatCode="General">
                  <c:v>124754.90499999997</c:v>
                </c:pt>
                <c:pt idx="30" formatCode="General">
                  <c:v>124777.20083333334</c:v>
                </c:pt>
                <c:pt idx="31" formatCode="General">
                  <c:v>124776.06583333334</c:v>
                </c:pt>
                <c:pt idx="32" formatCode="General">
                  <c:v>124586.48833333334</c:v>
                </c:pt>
                <c:pt idx="33" formatCode="General">
                  <c:v>121603</c:v>
                </c:pt>
                <c:pt idx="34" formatCode="General">
                  <c:v>121713</c:v>
                </c:pt>
                <c:pt idx="35" formatCode="General">
                  <c:v>121565</c:v>
                </c:pt>
                <c:pt idx="36" formatCode="General">
                  <c:v>120625</c:v>
                </c:pt>
                <c:pt idx="37" formatCode="General">
                  <c:v>122486</c:v>
                </c:pt>
                <c:pt idx="38" formatCode="General">
                  <c:v>12348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9B70-450D-A69E-7116738758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4799232"/>
        <c:axId val="171679104"/>
      </c:lineChart>
      <c:dateAx>
        <c:axId val="16479923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1679104"/>
        <c:crosses val="autoZero"/>
        <c:auto val="1"/>
        <c:lblOffset val="100"/>
        <c:baseTimeUnit val="months"/>
      </c:dateAx>
      <c:valAx>
        <c:axId val="171679104"/>
        <c:scaling>
          <c:orientation val="minMax"/>
          <c:min val="1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7992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Heavy Rail 12-Month Rolling Average by Day Type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ummaries1!$F$2</c:f>
              <c:strCache>
                <c:ptCount val="1"/>
                <c:pt idx="0">
                  <c:v>Weekday Rolling Avg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cat>
            <c:strRef>
              <c:f>summaries1!$D$6:$D$56</c:f>
              <c:strCache>
                <c:ptCount val="51"/>
                <c:pt idx="0">
                  <c:v>Apr 2014</c:v>
                </c:pt>
                <c:pt idx="1">
                  <c:v>May 2014</c:v>
                </c:pt>
                <c:pt idx="2">
                  <c:v>Jun 2014</c:v>
                </c:pt>
                <c:pt idx="3">
                  <c:v>Jul 2014</c:v>
                </c:pt>
                <c:pt idx="4">
                  <c:v>Aug 2014</c:v>
                </c:pt>
                <c:pt idx="5">
                  <c:v>Sep 2014</c:v>
                </c:pt>
                <c:pt idx="6">
                  <c:v>Oct 2014</c:v>
                </c:pt>
                <c:pt idx="7">
                  <c:v>Nov 2014</c:v>
                </c:pt>
                <c:pt idx="8">
                  <c:v>Dec 2014</c:v>
                </c:pt>
                <c:pt idx="9">
                  <c:v>Jan 2015</c:v>
                </c:pt>
                <c:pt idx="10">
                  <c:v>Feb 2015</c:v>
                </c:pt>
                <c:pt idx="11">
                  <c:v>Mar 2015</c:v>
                </c:pt>
                <c:pt idx="12">
                  <c:v>Apr 2015</c:v>
                </c:pt>
                <c:pt idx="13">
                  <c:v>May 2015</c:v>
                </c:pt>
                <c:pt idx="14">
                  <c:v>Jun 2015</c:v>
                </c:pt>
                <c:pt idx="15">
                  <c:v>Jul 2015</c:v>
                </c:pt>
                <c:pt idx="16">
                  <c:v>Aug 2015</c:v>
                </c:pt>
                <c:pt idx="17">
                  <c:v>Sep 2015</c:v>
                </c:pt>
                <c:pt idx="18">
                  <c:v>Oct 2015</c:v>
                </c:pt>
                <c:pt idx="19">
                  <c:v>Nov 2015</c:v>
                </c:pt>
                <c:pt idx="20">
                  <c:v>Dec 2015</c:v>
                </c:pt>
                <c:pt idx="21">
                  <c:v>Jan 2016</c:v>
                </c:pt>
                <c:pt idx="22">
                  <c:v>Feb 2016</c:v>
                </c:pt>
                <c:pt idx="23">
                  <c:v>Mar 2016</c:v>
                </c:pt>
                <c:pt idx="24">
                  <c:v>Apr 2016</c:v>
                </c:pt>
                <c:pt idx="25">
                  <c:v>May 2016</c:v>
                </c:pt>
                <c:pt idx="26">
                  <c:v>Jun 2016</c:v>
                </c:pt>
                <c:pt idx="27">
                  <c:v>Jul 2016</c:v>
                </c:pt>
                <c:pt idx="28">
                  <c:v>Aug 2016</c:v>
                </c:pt>
                <c:pt idx="29">
                  <c:v>Sep 2016</c:v>
                </c:pt>
                <c:pt idx="30">
                  <c:v>Oct 2016</c:v>
                </c:pt>
                <c:pt idx="31">
                  <c:v>Nov 2016</c:v>
                </c:pt>
                <c:pt idx="32">
                  <c:v>Dec 2016</c:v>
                </c:pt>
                <c:pt idx="33">
                  <c:v>Jan 2017</c:v>
                </c:pt>
                <c:pt idx="34">
                  <c:v>Feb 2017</c:v>
                </c:pt>
                <c:pt idx="35">
                  <c:v>Mar 2017</c:v>
                </c:pt>
                <c:pt idx="36">
                  <c:v>Apr 2017</c:v>
                </c:pt>
                <c:pt idx="37">
                  <c:v>May 2017</c:v>
                </c:pt>
                <c:pt idx="38">
                  <c:v>Jun 2017</c:v>
                </c:pt>
                <c:pt idx="39">
                  <c:v>Jul 2017</c:v>
                </c:pt>
                <c:pt idx="40">
                  <c:v>Aug 2017</c:v>
                </c:pt>
                <c:pt idx="41">
                  <c:v>Sep 2017</c:v>
                </c:pt>
                <c:pt idx="42">
                  <c:v>Oct 2017</c:v>
                </c:pt>
                <c:pt idx="43">
                  <c:v>Nov 2017</c:v>
                </c:pt>
                <c:pt idx="44">
                  <c:v>Dec 2017</c:v>
                </c:pt>
                <c:pt idx="45">
                  <c:v>Jan 2018</c:v>
                </c:pt>
                <c:pt idx="46">
                  <c:v>Feb 2018</c:v>
                </c:pt>
                <c:pt idx="47">
                  <c:v>Mar 2018</c:v>
                </c:pt>
                <c:pt idx="48">
                  <c:v>Apr 2018</c:v>
                </c:pt>
                <c:pt idx="49">
                  <c:v>May 2018</c:v>
                </c:pt>
                <c:pt idx="50">
                  <c:v>Jun 2018</c:v>
                </c:pt>
              </c:strCache>
            </c:strRef>
          </c:cat>
          <c:val>
            <c:numRef>
              <c:f>summaries1!$F$6:$F$56</c:f>
              <c:numCache>
                <c:formatCode>_(* #,##0_);_(* \(#,##0\);_(* "-"??_);_(@_)</c:formatCode>
                <c:ptCount val="51"/>
                <c:pt idx="0">
                  <c:v>503864.99441596441</c:v>
                </c:pt>
                <c:pt idx="1">
                  <c:v>505082.49297296291</c:v>
                </c:pt>
                <c:pt idx="2">
                  <c:v>505734.3719412167</c:v>
                </c:pt>
                <c:pt idx="3">
                  <c:v>506996.05375939835</c:v>
                </c:pt>
                <c:pt idx="4">
                  <c:v>505821.45148667129</c:v>
                </c:pt>
                <c:pt idx="5">
                  <c:v>506377.14890730596</c:v>
                </c:pt>
                <c:pt idx="6">
                  <c:v>505539.12782693707</c:v>
                </c:pt>
                <c:pt idx="7">
                  <c:v>503760.24449360406</c:v>
                </c:pt>
                <c:pt idx="8">
                  <c:v>503815.21238682192</c:v>
                </c:pt>
                <c:pt idx="9">
                  <c:v>501581.96000586951</c:v>
                </c:pt>
                <c:pt idx="10">
                  <c:v>494303.62228657125</c:v>
                </c:pt>
                <c:pt idx="11">
                  <c:v>493588.48776276171</c:v>
                </c:pt>
                <c:pt idx="12">
                  <c:v>490601.05215670093</c:v>
                </c:pt>
                <c:pt idx="13">
                  <c:v>488238.76247416134</c:v>
                </c:pt>
                <c:pt idx="14">
                  <c:v>488155.42517257429</c:v>
                </c:pt>
                <c:pt idx="15">
                  <c:v>487663.62625953055</c:v>
                </c:pt>
                <c:pt idx="16">
                  <c:v>489246.30717583653</c:v>
                </c:pt>
                <c:pt idx="17">
                  <c:v>488977.72781075723</c:v>
                </c:pt>
                <c:pt idx="18">
                  <c:v>487216.11186872813</c:v>
                </c:pt>
                <c:pt idx="19">
                  <c:v>488930.68270206149</c:v>
                </c:pt>
                <c:pt idx="20">
                  <c:v>487835.3128074634</c:v>
                </c:pt>
                <c:pt idx="21">
                  <c:v>488852.03364079673</c:v>
                </c:pt>
                <c:pt idx="22">
                  <c:v>495332.71521974413</c:v>
                </c:pt>
                <c:pt idx="23">
                  <c:v>495442.67691746651</c:v>
                </c:pt>
                <c:pt idx="24">
                  <c:v>495219.78676595143</c:v>
                </c:pt>
                <c:pt idx="25">
                  <c:v>495982.56851198321</c:v>
                </c:pt>
                <c:pt idx="26">
                  <c:v>495532.46623925591</c:v>
                </c:pt>
                <c:pt idx="27">
                  <c:v>493265.71951737895</c:v>
                </c:pt>
                <c:pt idx="28">
                  <c:v>492450.60167748918</c:v>
                </c:pt>
                <c:pt idx="29">
                  <c:v>491075.57786796539</c:v>
                </c:pt>
                <c:pt idx="30">
                  <c:v>491356.519724418</c:v>
                </c:pt>
                <c:pt idx="31">
                  <c:v>490213.78083552921</c:v>
                </c:pt>
                <c:pt idx="32">
                  <c:v>487854.45837176102</c:v>
                </c:pt>
                <c:pt idx="33">
                  <c:v>489263.09587176115</c:v>
                </c:pt>
                <c:pt idx="34">
                  <c:v>487811.24324018211</c:v>
                </c:pt>
                <c:pt idx="35">
                  <c:v>485563.57295032695</c:v>
                </c:pt>
                <c:pt idx="36">
                  <c:v>484877.27713503112</c:v>
                </c:pt>
                <c:pt idx="37">
                  <c:v>484260.13121151045</c:v>
                </c:pt>
                <c:pt idx="38">
                  <c:v>483513.39636302565</c:v>
                </c:pt>
                <c:pt idx="39">
                  <c:v>484257.73366461287</c:v>
                </c:pt>
                <c:pt idx="40">
                  <c:v>484025.21554867085</c:v>
                </c:pt>
                <c:pt idx="41">
                  <c:v>483865.13796930556</c:v>
                </c:pt>
                <c:pt idx="42">
                  <c:v>483826.96192312962</c:v>
                </c:pt>
                <c:pt idx="43">
                  <c:v>483584.06509773276</c:v>
                </c:pt>
                <c:pt idx="44">
                  <c:v>485057.95821367501</c:v>
                </c:pt>
                <c:pt idx="45">
                  <c:v>481863.16972161125</c:v>
                </c:pt>
                <c:pt idx="46">
                  <c:v>481898.81007248856</c:v>
                </c:pt>
                <c:pt idx="47">
                  <c:v>481040.32818843058</c:v>
                </c:pt>
                <c:pt idx="48">
                  <c:v>481809.30437890691</c:v>
                </c:pt>
                <c:pt idx="49">
                  <c:v>481689.94831830077</c:v>
                </c:pt>
                <c:pt idx="50">
                  <c:v>480928.1584553856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B060-42EB-AC75-671C66D90B3F}"/>
            </c:ext>
          </c:extLst>
        </c:ser>
        <c:ser>
          <c:idx val="1"/>
          <c:order val="1"/>
          <c:tx>
            <c:strRef>
              <c:f>summaries1!$H$2</c:f>
              <c:strCache>
                <c:ptCount val="1"/>
                <c:pt idx="0">
                  <c:v>Saturday Rolling Avg</c:v>
                </c:pt>
              </c:strCache>
            </c:strRef>
          </c:tx>
          <c:spPr>
            <a:ln w="28575" cap="rnd">
              <a:solidFill>
                <a:srgbClr val="FF9933"/>
              </a:solidFill>
              <a:round/>
            </a:ln>
            <a:effectLst/>
          </c:spPr>
          <c:marker>
            <c:symbol val="none"/>
          </c:marker>
          <c:cat>
            <c:strRef>
              <c:f>summaries1!$D$6:$D$56</c:f>
              <c:strCache>
                <c:ptCount val="51"/>
                <c:pt idx="0">
                  <c:v>Apr 2014</c:v>
                </c:pt>
                <c:pt idx="1">
                  <c:v>May 2014</c:v>
                </c:pt>
                <c:pt idx="2">
                  <c:v>Jun 2014</c:v>
                </c:pt>
                <c:pt idx="3">
                  <c:v>Jul 2014</c:v>
                </c:pt>
                <c:pt idx="4">
                  <c:v>Aug 2014</c:v>
                </c:pt>
                <c:pt idx="5">
                  <c:v>Sep 2014</c:v>
                </c:pt>
                <c:pt idx="6">
                  <c:v>Oct 2014</c:v>
                </c:pt>
                <c:pt idx="7">
                  <c:v>Nov 2014</c:v>
                </c:pt>
                <c:pt idx="8">
                  <c:v>Dec 2014</c:v>
                </c:pt>
                <c:pt idx="9">
                  <c:v>Jan 2015</c:v>
                </c:pt>
                <c:pt idx="10">
                  <c:v>Feb 2015</c:v>
                </c:pt>
                <c:pt idx="11">
                  <c:v>Mar 2015</c:v>
                </c:pt>
                <c:pt idx="12">
                  <c:v>Apr 2015</c:v>
                </c:pt>
                <c:pt idx="13">
                  <c:v>May 2015</c:v>
                </c:pt>
                <c:pt idx="14">
                  <c:v>Jun 2015</c:v>
                </c:pt>
                <c:pt idx="15">
                  <c:v>Jul 2015</c:v>
                </c:pt>
                <c:pt idx="16">
                  <c:v>Aug 2015</c:v>
                </c:pt>
                <c:pt idx="17">
                  <c:v>Sep 2015</c:v>
                </c:pt>
                <c:pt idx="18">
                  <c:v>Oct 2015</c:v>
                </c:pt>
                <c:pt idx="19">
                  <c:v>Nov 2015</c:v>
                </c:pt>
                <c:pt idx="20">
                  <c:v>Dec 2015</c:v>
                </c:pt>
                <c:pt idx="21">
                  <c:v>Jan 2016</c:v>
                </c:pt>
                <c:pt idx="22">
                  <c:v>Feb 2016</c:v>
                </c:pt>
                <c:pt idx="23">
                  <c:v>Mar 2016</c:v>
                </c:pt>
                <c:pt idx="24">
                  <c:v>Apr 2016</c:v>
                </c:pt>
                <c:pt idx="25">
                  <c:v>May 2016</c:v>
                </c:pt>
                <c:pt idx="26">
                  <c:v>Jun 2016</c:v>
                </c:pt>
                <c:pt idx="27">
                  <c:v>Jul 2016</c:v>
                </c:pt>
                <c:pt idx="28">
                  <c:v>Aug 2016</c:v>
                </c:pt>
                <c:pt idx="29">
                  <c:v>Sep 2016</c:v>
                </c:pt>
                <c:pt idx="30">
                  <c:v>Oct 2016</c:v>
                </c:pt>
                <c:pt idx="31">
                  <c:v>Nov 2016</c:v>
                </c:pt>
                <c:pt idx="32">
                  <c:v>Dec 2016</c:v>
                </c:pt>
                <c:pt idx="33">
                  <c:v>Jan 2017</c:v>
                </c:pt>
                <c:pt idx="34">
                  <c:v>Feb 2017</c:v>
                </c:pt>
                <c:pt idx="35">
                  <c:v>Mar 2017</c:v>
                </c:pt>
                <c:pt idx="36">
                  <c:v>Apr 2017</c:v>
                </c:pt>
                <c:pt idx="37">
                  <c:v>May 2017</c:v>
                </c:pt>
                <c:pt idx="38">
                  <c:v>Jun 2017</c:v>
                </c:pt>
                <c:pt idx="39">
                  <c:v>Jul 2017</c:v>
                </c:pt>
                <c:pt idx="40">
                  <c:v>Aug 2017</c:v>
                </c:pt>
                <c:pt idx="41">
                  <c:v>Sep 2017</c:v>
                </c:pt>
                <c:pt idx="42">
                  <c:v>Oct 2017</c:v>
                </c:pt>
                <c:pt idx="43">
                  <c:v>Nov 2017</c:v>
                </c:pt>
                <c:pt idx="44">
                  <c:v>Dec 2017</c:v>
                </c:pt>
                <c:pt idx="45">
                  <c:v>Jan 2018</c:v>
                </c:pt>
                <c:pt idx="46">
                  <c:v>Feb 2018</c:v>
                </c:pt>
                <c:pt idx="47">
                  <c:v>Mar 2018</c:v>
                </c:pt>
                <c:pt idx="48">
                  <c:v>Apr 2018</c:v>
                </c:pt>
                <c:pt idx="49">
                  <c:v>May 2018</c:v>
                </c:pt>
                <c:pt idx="50">
                  <c:v>Jun 2018</c:v>
                </c:pt>
              </c:strCache>
            </c:strRef>
          </c:cat>
          <c:val>
            <c:numRef>
              <c:f>summaries1!$H$6:$H$56</c:f>
              <c:numCache>
                <c:formatCode>_(* #,##0_);_(* \(#,##0\);_(* "-"??_);_(@_)</c:formatCode>
                <c:ptCount val="51"/>
                <c:pt idx="0">
                  <c:v>302633.38472222217</c:v>
                </c:pt>
                <c:pt idx="1">
                  <c:v>302976.58472222224</c:v>
                </c:pt>
                <c:pt idx="2">
                  <c:v>303765.05138888885</c:v>
                </c:pt>
                <c:pt idx="3">
                  <c:v>304787.5930555556</c:v>
                </c:pt>
                <c:pt idx="4">
                  <c:v>304910.60972222214</c:v>
                </c:pt>
                <c:pt idx="5">
                  <c:v>304095.69305555552</c:v>
                </c:pt>
                <c:pt idx="6">
                  <c:v>302701.90138888895</c:v>
                </c:pt>
                <c:pt idx="7">
                  <c:v>299090.56805555546</c:v>
                </c:pt>
                <c:pt idx="8">
                  <c:v>298160.75555555557</c:v>
                </c:pt>
                <c:pt idx="9">
                  <c:v>297462.90138888895</c:v>
                </c:pt>
                <c:pt idx="10">
                  <c:v>290281.42638888891</c:v>
                </c:pt>
                <c:pt idx="11">
                  <c:v>283087.63750000001</c:v>
                </c:pt>
                <c:pt idx="12">
                  <c:v>282481.72083333338</c:v>
                </c:pt>
                <c:pt idx="13">
                  <c:v>281803.10416666669</c:v>
                </c:pt>
                <c:pt idx="14">
                  <c:v>281577.70833333331</c:v>
                </c:pt>
                <c:pt idx="15">
                  <c:v>288725.59722222225</c:v>
                </c:pt>
                <c:pt idx="16">
                  <c:v>287680.54722222214</c:v>
                </c:pt>
                <c:pt idx="17">
                  <c:v>287437.27638888895</c:v>
                </c:pt>
                <c:pt idx="18">
                  <c:v>287045.17638888885</c:v>
                </c:pt>
                <c:pt idx="19">
                  <c:v>281496.12638888886</c:v>
                </c:pt>
                <c:pt idx="20">
                  <c:v>281931.45972222224</c:v>
                </c:pt>
                <c:pt idx="21">
                  <c:v>280679.49305555562</c:v>
                </c:pt>
                <c:pt idx="22">
                  <c:v>285985.11388888885</c:v>
                </c:pt>
                <c:pt idx="23">
                  <c:v>290893.24305555556</c:v>
                </c:pt>
                <c:pt idx="24">
                  <c:v>288083.84305555554</c:v>
                </c:pt>
                <c:pt idx="25">
                  <c:v>282036.64305555559</c:v>
                </c:pt>
                <c:pt idx="26">
                  <c:v>280044.26805555559</c:v>
                </c:pt>
                <c:pt idx="27">
                  <c:v>270886.09583333338</c:v>
                </c:pt>
                <c:pt idx="28">
                  <c:v>269445.53750000015</c:v>
                </c:pt>
                <c:pt idx="29">
                  <c:v>267277.45416666666</c:v>
                </c:pt>
                <c:pt idx="30">
                  <c:v>264993.50416666665</c:v>
                </c:pt>
                <c:pt idx="31">
                  <c:v>268926.55833333335</c:v>
                </c:pt>
                <c:pt idx="32">
                  <c:v>265599.40000000002</c:v>
                </c:pt>
                <c:pt idx="33">
                  <c:v>263589.55</c:v>
                </c:pt>
                <c:pt idx="34">
                  <c:v>262228.13333333348</c:v>
                </c:pt>
                <c:pt idx="35">
                  <c:v>258845.86250000002</c:v>
                </c:pt>
                <c:pt idx="36">
                  <c:v>258172.62916666668</c:v>
                </c:pt>
                <c:pt idx="37">
                  <c:v>261478.57916666663</c:v>
                </c:pt>
                <c:pt idx="38">
                  <c:v>263114.66249999986</c:v>
                </c:pt>
                <c:pt idx="39">
                  <c:v>263225.7291666668</c:v>
                </c:pt>
                <c:pt idx="40">
                  <c:v>263185.70833333331</c:v>
                </c:pt>
                <c:pt idx="41">
                  <c:v>261254.48333333328</c:v>
                </c:pt>
                <c:pt idx="42">
                  <c:v>260619.09583333333</c:v>
                </c:pt>
                <c:pt idx="43">
                  <c:v>258351.47083333333</c:v>
                </c:pt>
                <c:pt idx="44">
                  <c:v>257422.4375</c:v>
                </c:pt>
                <c:pt idx="45">
                  <c:v>258327.37916666665</c:v>
                </c:pt>
                <c:pt idx="46">
                  <c:v>257774.42083333328</c:v>
                </c:pt>
                <c:pt idx="47">
                  <c:v>260320.39583333331</c:v>
                </c:pt>
                <c:pt idx="48">
                  <c:v>260832.19583333333</c:v>
                </c:pt>
                <c:pt idx="49">
                  <c:v>259725.67500000008</c:v>
                </c:pt>
                <c:pt idx="50">
                  <c:v>257710.1958333333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B060-42EB-AC75-671C66D90B3F}"/>
            </c:ext>
          </c:extLst>
        </c:ser>
        <c:ser>
          <c:idx val="2"/>
          <c:order val="2"/>
          <c:tx>
            <c:strRef>
              <c:f>summaries1!$J$2</c:f>
              <c:strCache>
                <c:ptCount val="1"/>
                <c:pt idx="0">
                  <c:v>Sunday Rolling Avg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ummaries1!$D$6:$D$56</c:f>
              <c:strCache>
                <c:ptCount val="51"/>
                <c:pt idx="0">
                  <c:v>Apr 2014</c:v>
                </c:pt>
                <c:pt idx="1">
                  <c:v>May 2014</c:v>
                </c:pt>
                <c:pt idx="2">
                  <c:v>Jun 2014</c:v>
                </c:pt>
                <c:pt idx="3">
                  <c:v>Jul 2014</c:v>
                </c:pt>
                <c:pt idx="4">
                  <c:v>Aug 2014</c:v>
                </c:pt>
                <c:pt idx="5">
                  <c:v>Sep 2014</c:v>
                </c:pt>
                <c:pt idx="6">
                  <c:v>Oct 2014</c:v>
                </c:pt>
                <c:pt idx="7">
                  <c:v>Nov 2014</c:v>
                </c:pt>
                <c:pt idx="8">
                  <c:v>Dec 2014</c:v>
                </c:pt>
                <c:pt idx="9">
                  <c:v>Jan 2015</c:v>
                </c:pt>
                <c:pt idx="10">
                  <c:v>Feb 2015</c:v>
                </c:pt>
                <c:pt idx="11">
                  <c:v>Mar 2015</c:v>
                </c:pt>
                <c:pt idx="12">
                  <c:v>Apr 2015</c:v>
                </c:pt>
                <c:pt idx="13">
                  <c:v>May 2015</c:v>
                </c:pt>
                <c:pt idx="14">
                  <c:v>Jun 2015</c:v>
                </c:pt>
                <c:pt idx="15">
                  <c:v>Jul 2015</c:v>
                </c:pt>
                <c:pt idx="16">
                  <c:v>Aug 2015</c:v>
                </c:pt>
                <c:pt idx="17">
                  <c:v>Sep 2015</c:v>
                </c:pt>
                <c:pt idx="18">
                  <c:v>Oct 2015</c:v>
                </c:pt>
                <c:pt idx="19">
                  <c:v>Nov 2015</c:v>
                </c:pt>
                <c:pt idx="20">
                  <c:v>Dec 2015</c:v>
                </c:pt>
                <c:pt idx="21">
                  <c:v>Jan 2016</c:v>
                </c:pt>
                <c:pt idx="22">
                  <c:v>Feb 2016</c:v>
                </c:pt>
                <c:pt idx="23">
                  <c:v>Mar 2016</c:v>
                </c:pt>
                <c:pt idx="24">
                  <c:v>Apr 2016</c:v>
                </c:pt>
                <c:pt idx="25">
                  <c:v>May 2016</c:v>
                </c:pt>
                <c:pt idx="26">
                  <c:v>Jun 2016</c:v>
                </c:pt>
                <c:pt idx="27">
                  <c:v>Jul 2016</c:v>
                </c:pt>
                <c:pt idx="28">
                  <c:v>Aug 2016</c:v>
                </c:pt>
                <c:pt idx="29">
                  <c:v>Sep 2016</c:v>
                </c:pt>
                <c:pt idx="30">
                  <c:v>Oct 2016</c:v>
                </c:pt>
                <c:pt idx="31">
                  <c:v>Nov 2016</c:v>
                </c:pt>
                <c:pt idx="32">
                  <c:v>Dec 2016</c:v>
                </c:pt>
                <c:pt idx="33">
                  <c:v>Jan 2017</c:v>
                </c:pt>
                <c:pt idx="34">
                  <c:v>Feb 2017</c:v>
                </c:pt>
                <c:pt idx="35">
                  <c:v>Mar 2017</c:v>
                </c:pt>
                <c:pt idx="36">
                  <c:v>Apr 2017</c:v>
                </c:pt>
                <c:pt idx="37">
                  <c:v>May 2017</c:v>
                </c:pt>
                <c:pt idx="38">
                  <c:v>Jun 2017</c:v>
                </c:pt>
                <c:pt idx="39">
                  <c:v>Jul 2017</c:v>
                </c:pt>
                <c:pt idx="40">
                  <c:v>Aug 2017</c:v>
                </c:pt>
                <c:pt idx="41">
                  <c:v>Sep 2017</c:v>
                </c:pt>
                <c:pt idx="42">
                  <c:v>Oct 2017</c:v>
                </c:pt>
                <c:pt idx="43">
                  <c:v>Nov 2017</c:v>
                </c:pt>
                <c:pt idx="44">
                  <c:v>Dec 2017</c:v>
                </c:pt>
                <c:pt idx="45">
                  <c:v>Jan 2018</c:v>
                </c:pt>
                <c:pt idx="46">
                  <c:v>Feb 2018</c:v>
                </c:pt>
                <c:pt idx="47">
                  <c:v>Mar 2018</c:v>
                </c:pt>
                <c:pt idx="48">
                  <c:v>Apr 2018</c:v>
                </c:pt>
                <c:pt idx="49">
                  <c:v>May 2018</c:v>
                </c:pt>
                <c:pt idx="50">
                  <c:v>Jun 2018</c:v>
                </c:pt>
              </c:strCache>
            </c:strRef>
          </c:cat>
          <c:val>
            <c:numRef>
              <c:f>summaries1!$J$6:$J$56</c:f>
              <c:numCache>
                <c:formatCode>_(* #,##0_);_(* \(#,##0\);_(* "-"??_);_(@_)</c:formatCode>
                <c:ptCount val="51"/>
                <c:pt idx="0">
                  <c:v>210948.02916666665</c:v>
                </c:pt>
                <c:pt idx="1">
                  <c:v>211012.61250000008</c:v>
                </c:pt>
                <c:pt idx="2">
                  <c:v>211263.69583333333</c:v>
                </c:pt>
                <c:pt idx="3">
                  <c:v>211484.88333333327</c:v>
                </c:pt>
                <c:pt idx="4">
                  <c:v>211719.80833333335</c:v>
                </c:pt>
                <c:pt idx="5">
                  <c:v>208818.67500000008</c:v>
                </c:pt>
                <c:pt idx="6">
                  <c:v>209615.82083333327</c:v>
                </c:pt>
                <c:pt idx="7">
                  <c:v>208924.79583333337</c:v>
                </c:pt>
                <c:pt idx="8">
                  <c:v>206771.59583333333</c:v>
                </c:pt>
                <c:pt idx="9">
                  <c:v>206138.51249999998</c:v>
                </c:pt>
                <c:pt idx="10">
                  <c:v>200632.99166666655</c:v>
                </c:pt>
                <c:pt idx="11">
                  <c:v>200004.77499999999</c:v>
                </c:pt>
                <c:pt idx="12">
                  <c:v>200279.67083333331</c:v>
                </c:pt>
                <c:pt idx="13">
                  <c:v>199904.72499999998</c:v>
                </c:pt>
                <c:pt idx="14">
                  <c:v>195082.54166666666</c:v>
                </c:pt>
                <c:pt idx="15">
                  <c:v>195203.58333333328</c:v>
                </c:pt>
                <c:pt idx="16">
                  <c:v>194748.30000000002</c:v>
                </c:pt>
                <c:pt idx="17">
                  <c:v>198282.93333333332</c:v>
                </c:pt>
                <c:pt idx="18">
                  <c:v>197258.43333333332</c:v>
                </c:pt>
                <c:pt idx="19">
                  <c:v>196834.94999999998</c:v>
                </c:pt>
                <c:pt idx="20">
                  <c:v>200020.77083333334</c:v>
                </c:pt>
                <c:pt idx="21">
                  <c:v>198584.00416666665</c:v>
                </c:pt>
                <c:pt idx="22">
                  <c:v>199681.78333333333</c:v>
                </c:pt>
                <c:pt idx="23">
                  <c:v>199118.85833333328</c:v>
                </c:pt>
                <c:pt idx="24">
                  <c:v>198380.94166666665</c:v>
                </c:pt>
                <c:pt idx="25">
                  <c:v>196576.7416666667</c:v>
                </c:pt>
                <c:pt idx="26">
                  <c:v>199681.75</c:v>
                </c:pt>
                <c:pt idx="27">
                  <c:v>199161.85833333328</c:v>
                </c:pt>
                <c:pt idx="28">
                  <c:v>194795.60833333337</c:v>
                </c:pt>
                <c:pt idx="29">
                  <c:v>193390.50416666665</c:v>
                </c:pt>
                <c:pt idx="30">
                  <c:v>191657.75</c:v>
                </c:pt>
                <c:pt idx="31">
                  <c:v>191485.00833333333</c:v>
                </c:pt>
                <c:pt idx="32">
                  <c:v>188975.6333333333</c:v>
                </c:pt>
                <c:pt idx="33">
                  <c:v>190000.9</c:v>
                </c:pt>
                <c:pt idx="34">
                  <c:v>192448.34999999998</c:v>
                </c:pt>
                <c:pt idx="35">
                  <c:v>191056.47500000001</c:v>
                </c:pt>
                <c:pt idx="36">
                  <c:v>190852.49166666661</c:v>
                </c:pt>
                <c:pt idx="37">
                  <c:v>187311.875</c:v>
                </c:pt>
                <c:pt idx="38">
                  <c:v>189106.83333333328</c:v>
                </c:pt>
                <c:pt idx="39">
                  <c:v>189759.26666666669</c:v>
                </c:pt>
                <c:pt idx="40">
                  <c:v>193633.08333333328</c:v>
                </c:pt>
                <c:pt idx="41">
                  <c:v>193061.10416666666</c:v>
                </c:pt>
                <c:pt idx="42">
                  <c:v>192738.38749999992</c:v>
                </c:pt>
                <c:pt idx="43">
                  <c:v>191806.38749999992</c:v>
                </c:pt>
                <c:pt idx="44">
                  <c:v>191649.35833333328</c:v>
                </c:pt>
                <c:pt idx="45">
                  <c:v>190196.67083333331</c:v>
                </c:pt>
                <c:pt idx="46">
                  <c:v>189011.06666666665</c:v>
                </c:pt>
                <c:pt idx="47">
                  <c:v>189261.58749999994</c:v>
                </c:pt>
                <c:pt idx="48">
                  <c:v>187036.97083333333</c:v>
                </c:pt>
                <c:pt idx="49">
                  <c:v>190035.15</c:v>
                </c:pt>
                <c:pt idx="50">
                  <c:v>189515.8333333332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B060-42EB-AC75-671C66D90B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4809088"/>
        <c:axId val="174810624"/>
      </c:lineChart>
      <c:catAx>
        <c:axId val="1748090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810624"/>
        <c:crosses val="autoZero"/>
        <c:auto val="1"/>
        <c:lblAlgn val="ctr"/>
        <c:lblOffset val="100"/>
        <c:noMultiLvlLbl val="0"/>
      </c:catAx>
      <c:valAx>
        <c:axId val="1748106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809088"/>
        <c:crosses val="autoZero"/>
        <c:crossBetween val="between"/>
        <c:majorUnit val="50000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Rapid</a:t>
            </a:r>
            <a:r>
              <a:rPr lang="en-US" baseline="0" dirty="0"/>
              <a:t> Transit </a:t>
            </a:r>
            <a:r>
              <a:rPr lang="en-US" baseline="0" dirty="0" smtClean="0"/>
              <a:t>Average </a:t>
            </a:r>
            <a:r>
              <a:rPr lang="en-US" baseline="0" dirty="0"/>
              <a:t>by Day Type, </a:t>
            </a:r>
            <a:r>
              <a:rPr lang="en-US" baseline="0" dirty="0" smtClean="0"/>
              <a:t>FY17-FY18</a:t>
            </a:r>
            <a:endParaRPr lang="en-US" dirty="0"/>
          </a:p>
        </c:rich>
      </c:tx>
      <c:layout>
        <c:manualLayout>
          <c:xMode val="edge"/>
          <c:yMode val="edge"/>
          <c:x val="0.31222305271269191"/>
          <c:y val="1.5625003203945869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ummaries1!$E$2</c:f>
              <c:strCache>
                <c:ptCount val="1"/>
                <c:pt idx="0">
                  <c:v>Avg. Weekday Taps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summaries1!$D$33:$D$56</c:f>
              <c:strCache>
                <c:ptCount val="24"/>
                <c:pt idx="0">
                  <c:v>Jul 2016</c:v>
                </c:pt>
                <c:pt idx="1">
                  <c:v>Aug 2016</c:v>
                </c:pt>
                <c:pt idx="2">
                  <c:v>Sep 2016</c:v>
                </c:pt>
                <c:pt idx="3">
                  <c:v>Oct 2016</c:v>
                </c:pt>
                <c:pt idx="4">
                  <c:v>Nov 2016</c:v>
                </c:pt>
                <c:pt idx="5">
                  <c:v>Dec 2016</c:v>
                </c:pt>
                <c:pt idx="6">
                  <c:v>Jan 2017</c:v>
                </c:pt>
                <c:pt idx="7">
                  <c:v>Feb 2017</c:v>
                </c:pt>
                <c:pt idx="8">
                  <c:v>Mar 2017</c:v>
                </c:pt>
                <c:pt idx="9">
                  <c:v>Apr 2017</c:v>
                </c:pt>
                <c:pt idx="10">
                  <c:v>May 2017</c:v>
                </c:pt>
                <c:pt idx="11">
                  <c:v>Jun 2017</c:v>
                </c:pt>
                <c:pt idx="12">
                  <c:v>Jul 2017</c:v>
                </c:pt>
                <c:pt idx="13">
                  <c:v>Aug 2017</c:v>
                </c:pt>
                <c:pt idx="14">
                  <c:v>Sep 2017</c:v>
                </c:pt>
                <c:pt idx="15">
                  <c:v>Oct 2017</c:v>
                </c:pt>
                <c:pt idx="16">
                  <c:v>Nov 2017</c:v>
                </c:pt>
                <c:pt idx="17">
                  <c:v>Dec 2017</c:v>
                </c:pt>
                <c:pt idx="18">
                  <c:v>Jan 2018</c:v>
                </c:pt>
                <c:pt idx="19">
                  <c:v>Feb 2018</c:v>
                </c:pt>
                <c:pt idx="20">
                  <c:v>Mar 2018</c:v>
                </c:pt>
                <c:pt idx="21">
                  <c:v>Apr 2018</c:v>
                </c:pt>
                <c:pt idx="22">
                  <c:v>May 2018</c:v>
                </c:pt>
                <c:pt idx="23">
                  <c:v>Jun 2018</c:v>
                </c:pt>
              </c:strCache>
            </c:strRef>
          </c:cat>
          <c:val>
            <c:numRef>
              <c:f>summaries1!$E$33:$E$56</c:f>
              <c:numCache>
                <c:formatCode>_(* #,##0_);_(* \(#,##0\);_(* "-"??_);_(@_)</c:formatCode>
                <c:ptCount val="24"/>
                <c:pt idx="0">
                  <c:v>480007.95238095237</c:v>
                </c:pt>
                <c:pt idx="1">
                  <c:v>480147.34782608668</c:v>
                </c:pt>
                <c:pt idx="2">
                  <c:v>515957.38095238089</c:v>
                </c:pt>
                <c:pt idx="3">
                  <c:v>511399.47619047621</c:v>
                </c:pt>
                <c:pt idx="4">
                  <c:v>492113.33333333343</c:v>
                </c:pt>
                <c:pt idx="5">
                  <c:v>422586.78260869568</c:v>
                </c:pt>
                <c:pt idx="6">
                  <c:v>471108.7</c:v>
                </c:pt>
                <c:pt idx="7">
                  <c:v>470522.36842105252</c:v>
                </c:pt>
                <c:pt idx="8">
                  <c:v>474745.78260869568</c:v>
                </c:pt>
                <c:pt idx="9">
                  <c:v>482081.90476190485</c:v>
                </c:pt>
                <c:pt idx="10">
                  <c:v>498384.77272727259</c:v>
                </c:pt>
                <c:pt idx="11">
                  <c:v>503104.9545454547</c:v>
                </c:pt>
                <c:pt idx="12">
                  <c:v>488940</c:v>
                </c:pt>
                <c:pt idx="13">
                  <c:v>477357.13043478259</c:v>
                </c:pt>
                <c:pt idx="14">
                  <c:v>514036.45</c:v>
                </c:pt>
                <c:pt idx="15">
                  <c:v>510941.36363636376</c:v>
                </c:pt>
                <c:pt idx="16">
                  <c:v>489198.57142857142</c:v>
                </c:pt>
                <c:pt idx="17">
                  <c:v>440273.5</c:v>
                </c:pt>
                <c:pt idx="18">
                  <c:v>432771.23809523799</c:v>
                </c:pt>
                <c:pt idx="19">
                  <c:v>470950.05263157893</c:v>
                </c:pt>
                <c:pt idx="20" formatCode="General">
                  <c:v>464444</c:v>
                </c:pt>
                <c:pt idx="21">
                  <c:v>491309.61904761917</c:v>
                </c:pt>
                <c:pt idx="22">
                  <c:v>496952.5</c:v>
                </c:pt>
                <c:pt idx="23">
                  <c:v>493963.4761904762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5F0B-4DEF-A6B0-9E348CBB546E}"/>
            </c:ext>
          </c:extLst>
        </c:ser>
        <c:ser>
          <c:idx val="1"/>
          <c:order val="1"/>
          <c:tx>
            <c:strRef>
              <c:f>summaries1!$F$2</c:f>
              <c:strCache>
                <c:ptCount val="1"/>
                <c:pt idx="0">
                  <c:v>Weekday Rolling Avg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summaries1!$D$33:$D$56</c:f>
              <c:strCache>
                <c:ptCount val="24"/>
                <c:pt idx="0">
                  <c:v>Jul 2016</c:v>
                </c:pt>
                <c:pt idx="1">
                  <c:v>Aug 2016</c:v>
                </c:pt>
                <c:pt idx="2">
                  <c:v>Sep 2016</c:v>
                </c:pt>
                <c:pt idx="3">
                  <c:v>Oct 2016</c:v>
                </c:pt>
                <c:pt idx="4">
                  <c:v>Nov 2016</c:v>
                </c:pt>
                <c:pt idx="5">
                  <c:v>Dec 2016</c:v>
                </c:pt>
                <c:pt idx="6">
                  <c:v>Jan 2017</c:v>
                </c:pt>
                <c:pt idx="7">
                  <c:v>Feb 2017</c:v>
                </c:pt>
                <c:pt idx="8">
                  <c:v>Mar 2017</c:v>
                </c:pt>
                <c:pt idx="9">
                  <c:v>Apr 2017</c:v>
                </c:pt>
                <c:pt idx="10">
                  <c:v>May 2017</c:v>
                </c:pt>
                <c:pt idx="11">
                  <c:v>Jun 2017</c:v>
                </c:pt>
                <c:pt idx="12">
                  <c:v>Jul 2017</c:v>
                </c:pt>
                <c:pt idx="13">
                  <c:v>Aug 2017</c:v>
                </c:pt>
                <c:pt idx="14">
                  <c:v>Sep 2017</c:v>
                </c:pt>
                <c:pt idx="15">
                  <c:v>Oct 2017</c:v>
                </c:pt>
                <c:pt idx="16">
                  <c:v>Nov 2017</c:v>
                </c:pt>
                <c:pt idx="17">
                  <c:v>Dec 2017</c:v>
                </c:pt>
                <c:pt idx="18">
                  <c:v>Jan 2018</c:v>
                </c:pt>
                <c:pt idx="19">
                  <c:v>Feb 2018</c:v>
                </c:pt>
                <c:pt idx="20">
                  <c:v>Mar 2018</c:v>
                </c:pt>
                <c:pt idx="21">
                  <c:v>Apr 2018</c:v>
                </c:pt>
                <c:pt idx="22">
                  <c:v>May 2018</c:v>
                </c:pt>
                <c:pt idx="23">
                  <c:v>Jun 2018</c:v>
                </c:pt>
              </c:strCache>
            </c:strRef>
          </c:cat>
          <c:val>
            <c:numRef>
              <c:f>summaries1!$F$33:$F$56</c:f>
              <c:numCache>
                <c:formatCode>_(* #,##0_);_(* \(#,##0\);_(* "-"??_);_(@_)</c:formatCode>
                <c:ptCount val="24"/>
                <c:pt idx="0">
                  <c:v>493265.71951737895</c:v>
                </c:pt>
                <c:pt idx="1">
                  <c:v>492450.60167748918</c:v>
                </c:pt>
                <c:pt idx="2">
                  <c:v>491075.57786796539</c:v>
                </c:pt>
                <c:pt idx="3">
                  <c:v>491356.519724418</c:v>
                </c:pt>
                <c:pt idx="4">
                  <c:v>490213.78083552921</c:v>
                </c:pt>
                <c:pt idx="5">
                  <c:v>487854.45837176102</c:v>
                </c:pt>
                <c:pt idx="6">
                  <c:v>489263.09587176115</c:v>
                </c:pt>
                <c:pt idx="7">
                  <c:v>487811.24324018211</c:v>
                </c:pt>
                <c:pt idx="8">
                  <c:v>485563.57295032695</c:v>
                </c:pt>
                <c:pt idx="9">
                  <c:v>484877.27713503112</c:v>
                </c:pt>
                <c:pt idx="10">
                  <c:v>484260.13121151045</c:v>
                </c:pt>
                <c:pt idx="11">
                  <c:v>483513.39636302565</c:v>
                </c:pt>
                <c:pt idx="12">
                  <c:v>484257.73366461287</c:v>
                </c:pt>
                <c:pt idx="13">
                  <c:v>484025.21554867085</c:v>
                </c:pt>
                <c:pt idx="14">
                  <c:v>483865.13796930556</c:v>
                </c:pt>
                <c:pt idx="15">
                  <c:v>483826.96192312962</c:v>
                </c:pt>
                <c:pt idx="16">
                  <c:v>483584.06509773276</c:v>
                </c:pt>
                <c:pt idx="17">
                  <c:v>485057.95821367501</c:v>
                </c:pt>
                <c:pt idx="18">
                  <c:v>481863.16972161125</c:v>
                </c:pt>
                <c:pt idx="19">
                  <c:v>481898.81007248856</c:v>
                </c:pt>
                <c:pt idx="20">
                  <c:v>481040.32818843058</c:v>
                </c:pt>
                <c:pt idx="21">
                  <c:v>481809.30437890691</c:v>
                </c:pt>
                <c:pt idx="22">
                  <c:v>481689.94831830077</c:v>
                </c:pt>
                <c:pt idx="23">
                  <c:v>480928.1584553856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5F0B-4DEF-A6B0-9E348CBB546E}"/>
            </c:ext>
          </c:extLst>
        </c:ser>
        <c:ser>
          <c:idx val="2"/>
          <c:order val="2"/>
          <c:tx>
            <c:strRef>
              <c:f>summaries1!$G$2</c:f>
              <c:strCache>
                <c:ptCount val="1"/>
                <c:pt idx="0">
                  <c:v>Avg. Saturday Taps</c:v>
                </c:pt>
              </c:strCache>
            </c:strRef>
          </c:tx>
          <c:spPr>
            <a:ln w="28575" cap="rnd">
              <a:solidFill>
                <a:srgbClr val="FF9933"/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summaries1!$D$33:$D$56</c:f>
              <c:strCache>
                <c:ptCount val="24"/>
                <c:pt idx="0">
                  <c:v>Jul 2016</c:v>
                </c:pt>
                <c:pt idx="1">
                  <c:v>Aug 2016</c:v>
                </c:pt>
                <c:pt idx="2">
                  <c:v>Sep 2016</c:v>
                </c:pt>
                <c:pt idx="3">
                  <c:v>Oct 2016</c:v>
                </c:pt>
                <c:pt idx="4">
                  <c:v>Nov 2016</c:v>
                </c:pt>
                <c:pt idx="5">
                  <c:v>Dec 2016</c:v>
                </c:pt>
                <c:pt idx="6">
                  <c:v>Jan 2017</c:v>
                </c:pt>
                <c:pt idx="7">
                  <c:v>Feb 2017</c:v>
                </c:pt>
                <c:pt idx="8">
                  <c:v>Mar 2017</c:v>
                </c:pt>
                <c:pt idx="9">
                  <c:v>Apr 2017</c:v>
                </c:pt>
                <c:pt idx="10">
                  <c:v>May 2017</c:v>
                </c:pt>
                <c:pt idx="11">
                  <c:v>Jun 2017</c:v>
                </c:pt>
                <c:pt idx="12">
                  <c:v>Jul 2017</c:v>
                </c:pt>
                <c:pt idx="13">
                  <c:v>Aug 2017</c:v>
                </c:pt>
                <c:pt idx="14">
                  <c:v>Sep 2017</c:v>
                </c:pt>
                <c:pt idx="15">
                  <c:v>Oct 2017</c:v>
                </c:pt>
                <c:pt idx="16">
                  <c:v>Nov 2017</c:v>
                </c:pt>
                <c:pt idx="17">
                  <c:v>Dec 2017</c:v>
                </c:pt>
                <c:pt idx="18">
                  <c:v>Jan 2018</c:v>
                </c:pt>
                <c:pt idx="19">
                  <c:v>Feb 2018</c:v>
                </c:pt>
                <c:pt idx="20">
                  <c:v>Mar 2018</c:v>
                </c:pt>
                <c:pt idx="21">
                  <c:v>Apr 2018</c:v>
                </c:pt>
                <c:pt idx="22">
                  <c:v>May 2018</c:v>
                </c:pt>
                <c:pt idx="23">
                  <c:v>Jun 2018</c:v>
                </c:pt>
              </c:strCache>
            </c:strRef>
          </c:cat>
          <c:val>
            <c:numRef>
              <c:f>summaries1!$G$33:$G$56</c:f>
              <c:numCache>
                <c:formatCode>_(* #,##0_);_(* \(#,##0\);_(* "-"??_);_(@_)</c:formatCode>
                <c:ptCount val="24"/>
                <c:pt idx="0">
                  <c:v>275740.59999999998</c:v>
                </c:pt>
                <c:pt idx="1">
                  <c:v>264131.5</c:v>
                </c:pt>
                <c:pt idx="2">
                  <c:v>296419.5</c:v>
                </c:pt>
                <c:pt idx="3">
                  <c:v>281721.40000000002</c:v>
                </c:pt>
                <c:pt idx="4">
                  <c:v>271582.25</c:v>
                </c:pt>
                <c:pt idx="5">
                  <c:v>226104.6</c:v>
                </c:pt>
                <c:pt idx="6">
                  <c:v>202624.2</c:v>
                </c:pt>
                <c:pt idx="7">
                  <c:v>250310.25</c:v>
                </c:pt>
                <c:pt idx="8">
                  <c:v>239556.5</c:v>
                </c:pt>
                <c:pt idx="9">
                  <c:v>281440.40000000002</c:v>
                </c:pt>
                <c:pt idx="10">
                  <c:v>269989</c:v>
                </c:pt>
                <c:pt idx="11">
                  <c:v>297755.75</c:v>
                </c:pt>
                <c:pt idx="12">
                  <c:v>277073.40000000002</c:v>
                </c:pt>
                <c:pt idx="13">
                  <c:v>263651.25</c:v>
                </c:pt>
                <c:pt idx="14">
                  <c:v>273244.80000000005</c:v>
                </c:pt>
                <c:pt idx="15">
                  <c:v>274096.75</c:v>
                </c:pt>
                <c:pt idx="16">
                  <c:v>244370.75</c:v>
                </c:pt>
                <c:pt idx="17">
                  <c:v>214956.2</c:v>
                </c:pt>
                <c:pt idx="18">
                  <c:v>213483.5</c:v>
                </c:pt>
                <c:pt idx="19">
                  <c:v>243674.75</c:v>
                </c:pt>
                <c:pt idx="20">
                  <c:v>270108.2</c:v>
                </c:pt>
                <c:pt idx="21">
                  <c:v>287582</c:v>
                </c:pt>
                <c:pt idx="22">
                  <c:v>256710.75</c:v>
                </c:pt>
                <c:pt idx="23">
                  <c:v>27357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5F0B-4DEF-A6B0-9E348CBB546E}"/>
            </c:ext>
          </c:extLst>
        </c:ser>
        <c:ser>
          <c:idx val="3"/>
          <c:order val="3"/>
          <c:tx>
            <c:strRef>
              <c:f>summaries1!$H$2</c:f>
              <c:strCache>
                <c:ptCount val="1"/>
                <c:pt idx="0">
                  <c:v>Saturday Rolling Avg</c:v>
                </c:pt>
              </c:strCache>
            </c:strRef>
          </c:tx>
          <c:spPr>
            <a:ln w="28575" cap="rnd">
              <a:solidFill>
                <a:srgbClr val="FF9933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summaries1!$D$33:$D$56</c:f>
              <c:strCache>
                <c:ptCount val="24"/>
                <c:pt idx="0">
                  <c:v>Jul 2016</c:v>
                </c:pt>
                <c:pt idx="1">
                  <c:v>Aug 2016</c:v>
                </c:pt>
                <c:pt idx="2">
                  <c:v>Sep 2016</c:v>
                </c:pt>
                <c:pt idx="3">
                  <c:v>Oct 2016</c:v>
                </c:pt>
                <c:pt idx="4">
                  <c:v>Nov 2016</c:v>
                </c:pt>
                <c:pt idx="5">
                  <c:v>Dec 2016</c:v>
                </c:pt>
                <c:pt idx="6">
                  <c:v>Jan 2017</c:v>
                </c:pt>
                <c:pt idx="7">
                  <c:v>Feb 2017</c:v>
                </c:pt>
                <c:pt idx="8">
                  <c:v>Mar 2017</c:v>
                </c:pt>
                <c:pt idx="9">
                  <c:v>Apr 2017</c:v>
                </c:pt>
                <c:pt idx="10">
                  <c:v>May 2017</c:v>
                </c:pt>
                <c:pt idx="11">
                  <c:v>Jun 2017</c:v>
                </c:pt>
                <c:pt idx="12">
                  <c:v>Jul 2017</c:v>
                </c:pt>
                <c:pt idx="13">
                  <c:v>Aug 2017</c:v>
                </c:pt>
                <c:pt idx="14">
                  <c:v>Sep 2017</c:v>
                </c:pt>
                <c:pt idx="15">
                  <c:v>Oct 2017</c:v>
                </c:pt>
                <c:pt idx="16">
                  <c:v>Nov 2017</c:v>
                </c:pt>
                <c:pt idx="17">
                  <c:v>Dec 2017</c:v>
                </c:pt>
                <c:pt idx="18">
                  <c:v>Jan 2018</c:v>
                </c:pt>
                <c:pt idx="19">
                  <c:v>Feb 2018</c:v>
                </c:pt>
                <c:pt idx="20">
                  <c:v>Mar 2018</c:v>
                </c:pt>
                <c:pt idx="21">
                  <c:v>Apr 2018</c:v>
                </c:pt>
                <c:pt idx="22">
                  <c:v>May 2018</c:v>
                </c:pt>
                <c:pt idx="23">
                  <c:v>Jun 2018</c:v>
                </c:pt>
              </c:strCache>
            </c:strRef>
          </c:cat>
          <c:val>
            <c:numRef>
              <c:f>summaries1!$H$33:$H$56</c:f>
              <c:numCache>
                <c:formatCode>_(* #,##0_);_(* \(#,##0\);_(* "-"??_);_(@_)</c:formatCode>
                <c:ptCount val="24"/>
                <c:pt idx="0">
                  <c:v>270886.09583333338</c:v>
                </c:pt>
                <c:pt idx="1">
                  <c:v>269445.53750000015</c:v>
                </c:pt>
                <c:pt idx="2">
                  <c:v>267277.45416666666</c:v>
                </c:pt>
                <c:pt idx="3">
                  <c:v>264993.50416666665</c:v>
                </c:pt>
                <c:pt idx="4">
                  <c:v>268926.55833333335</c:v>
                </c:pt>
                <c:pt idx="5">
                  <c:v>265599.40000000002</c:v>
                </c:pt>
                <c:pt idx="6">
                  <c:v>263589.55</c:v>
                </c:pt>
                <c:pt idx="7">
                  <c:v>262228.13333333348</c:v>
                </c:pt>
                <c:pt idx="8">
                  <c:v>258845.86250000002</c:v>
                </c:pt>
                <c:pt idx="9">
                  <c:v>258172.62916666668</c:v>
                </c:pt>
                <c:pt idx="10">
                  <c:v>261478.57916666663</c:v>
                </c:pt>
                <c:pt idx="11">
                  <c:v>263114.66249999986</c:v>
                </c:pt>
                <c:pt idx="12">
                  <c:v>263225.7291666668</c:v>
                </c:pt>
                <c:pt idx="13">
                  <c:v>263185.70833333331</c:v>
                </c:pt>
                <c:pt idx="14">
                  <c:v>261254.48333333328</c:v>
                </c:pt>
                <c:pt idx="15">
                  <c:v>260619.09583333333</c:v>
                </c:pt>
                <c:pt idx="16">
                  <c:v>258351.47083333333</c:v>
                </c:pt>
                <c:pt idx="17">
                  <c:v>257422.4375</c:v>
                </c:pt>
                <c:pt idx="18">
                  <c:v>258327.37916666665</c:v>
                </c:pt>
                <c:pt idx="19">
                  <c:v>257774.42083333328</c:v>
                </c:pt>
                <c:pt idx="20">
                  <c:v>260320.39583333331</c:v>
                </c:pt>
                <c:pt idx="21">
                  <c:v>260832.19583333333</c:v>
                </c:pt>
                <c:pt idx="22">
                  <c:v>259725.67500000008</c:v>
                </c:pt>
                <c:pt idx="23">
                  <c:v>257710.1958333333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5F0B-4DEF-A6B0-9E348CBB546E}"/>
            </c:ext>
          </c:extLst>
        </c:ser>
        <c:ser>
          <c:idx val="4"/>
          <c:order val="4"/>
          <c:tx>
            <c:strRef>
              <c:f>summaries1!$I$2</c:f>
              <c:strCache>
                <c:ptCount val="1"/>
                <c:pt idx="0">
                  <c:v>Avg. Sunday Taps</c:v>
                </c:pt>
              </c:strCache>
            </c:strRef>
          </c:tx>
          <c:spPr>
            <a:ln w="28575" cap="rnd">
              <a:solidFill>
                <a:srgbClr val="FFFFFF">
                  <a:lumMod val="50000"/>
                </a:srgbClr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summaries1!$D$33:$D$56</c:f>
              <c:strCache>
                <c:ptCount val="24"/>
                <c:pt idx="0">
                  <c:v>Jul 2016</c:v>
                </c:pt>
                <c:pt idx="1">
                  <c:v>Aug 2016</c:v>
                </c:pt>
                <c:pt idx="2">
                  <c:v>Sep 2016</c:v>
                </c:pt>
                <c:pt idx="3">
                  <c:v>Oct 2016</c:v>
                </c:pt>
                <c:pt idx="4">
                  <c:v>Nov 2016</c:v>
                </c:pt>
                <c:pt idx="5">
                  <c:v>Dec 2016</c:v>
                </c:pt>
                <c:pt idx="6">
                  <c:v>Jan 2017</c:v>
                </c:pt>
                <c:pt idx="7">
                  <c:v>Feb 2017</c:v>
                </c:pt>
                <c:pt idx="8">
                  <c:v>Mar 2017</c:v>
                </c:pt>
                <c:pt idx="9">
                  <c:v>Apr 2017</c:v>
                </c:pt>
                <c:pt idx="10">
                  <c:v>May 2017</c:v>
                </c:pt>
                <c:pt idx="11">
                  <c:v>Jun 2017</c:v>
                </c:pt>
                <c:pt idx="12">
                  <c:v>Jul 2017</c:v>
                </c:pt>
                <c:pt idx="13">
                  <c:v>Aug 2017</c:v>
                </c:pt>
                <c:pt idx="14">
                  <c:v>Sep 2017</c:v>
                </c:pt>
                <c:pt idx="15">
                  <c:v>Oct 2017</c:v>
                </c:pt>
                <c:pt idx="16">
                  <c:v>Nov 2017</c:v>
                </c:pt>
                <c:pt idx="17">
                  <c:v>Dec 2017</c:v>
                </c:pt>
                <c:pt idx="18">
                  <c:v>Jan 2018</c:v>
                </c:pt>
                <c:pt idx="19">
                  <c:v>Feb 2018</c:v>
                </c:pt>
                <c:pt idx="20">
                  <c:v>Mar 2018</c:v>
                </c:pt>
                <c:pt idx="21">
                  <c:v>Apr 2018</c:v>
                </c:pt>
                <c:pt idx="22">
                  <c:v>May 2018</c:v>
                </c:pt>
                <c:pt idx="23">
                  <c:v>Jun 2018</c:v>
                </c:pt>
              </c:strCache>
            </c:strRef>
          </c:cat>
          <c:val>
            <c:numRef>
              <c:f>summaries1!$I$33:$I$56</c:f>
              <c:numCache>
                <c:formatCode>_(* #,##0_);_(* \(#,##0\);_(* "-"??_);_(@_)</c:formatCode>
                <c:ptCount val="24"/>
                <c:pt idx="0">
                  <c:v>212333.8</c:v>
                </c:pt>
                <c:pt idx="1">
                  <c:v>166054.20000000001</c:v>
                </c:pt>
                <c:pt idx="2">
                  <c:v>211570.75</c:v>
                </c:pt>
                <c:pt idx="3">
                  <c:v>199992.2</c:v>
                </c:pt>
                <c:pt idx="4">
                  <c:v>188574.5</c:v>
                </c:pt>
                <c:pt idx="5">
                  <c:v>157801.75</c:v>
                </c:pt>
                <c:pt idx="6">
                  <c:v>171297</c:v>
                </c:pt>
                <c:pt idx="7">
                  <c:v>177322</c:v>
                </c:pt>
                <c:pt idx="8">
                  <c:v>182518</c:v>
                </c:pt>
                <c:pt idx="9">
                  <c:v>218634.2</c:v>
                </c:pt>
                <c:pt idx="10">
                  <c:v>162361.60000000001</c:v>
                </c:pt>
                <c:pt idx="11">
                  <c:v>220822</c:v>
                </c:pt>
                <c:pt idx="12">
                  <c:v>220163</c:v>
                </c:pt>
                <c:pt idx="13">
                  <c:v>212540</c:v>
                </c:pt>
                <c:pt idx="14">
                  <c:v>204707</c:v>
                </c:pt>
                <c:pt idx="15">
                  <c:v>196119.6</c:v>
                </c:pt>
                <c:pt idx="16">
                  <c:v>177390.5</c:v>
                </c:pt>
                <c:pt idx="17">
                  <c:v>155917.4</c:v>
                </c:pt>
                <c:pt idx="18">
                  <c:v>153864.75</c:v>
                </c:pt>
                <c:pt idx="19">
                  <c:v>163094.75</c:v>
                </c:pt>
                <c:pt idx="20">
                  <c:v>185524.25</c:v>
                </c:pt>
                <c:pt idx="21">
                  <c:v>191938.8</c:v>
                </c:pt>
                <c:pt idx="22">
                  <c:v>198339.75</c:v>
                </c:pt>
                <c:pt idx="23">
                  <c:v>20217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5F0B-4DEF-A6B0-9E348CBB546E}"/>
            </c:ext>
          </c:extLst>
        </c:ser>
        <c:ser>
          <c:idx val="5"/>
          <c:order val="5"/>
          <c:tx>
            <c:strRef>
              <c:f>summaries1!$J$2</c:f>
              <c:strCache>
                <c:ptCount val="1"/>
                <c:pt idx="0">
                  <c:v>Sunday Rolling Avg</c:v>
                </c:pt>
              </c:strCache>
            </c:strRef>
          </c:tx>
          <c:spPr>
            <a:ln w="28575" cap="rnd">
              <a:solidFill>
                <a:srgbClr val="FFFFFF">
                  <a:lumMod val="50000"/>
                </a:srgbClr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summaries1!$D$33:$D$56</c:f>
              <c:strCache>
                <c:ptCount val="24"/>
                <c:pt idx="0">
                  <c:v>Jul 2016</c:v>
                </c:pt>
                <c:pt idx="1">
                  <c:v>Aug 2016</c:v>
                </c:pt>
                <c:pt idx="2">
                  <c:v>Sep 2016</c:v>
                </c:pt>
                <c:pt idx="3">
                  <c:v>Oct 2016</c:v>
                </c:pt>
                <c:pt idx="4">
                  <c:v>Nov 2016</c:v>
                </c:pt>
                <c:pt idx="5">
                  <c:v>Dec 2016</c:v>
                </c:pt>
                <c:pt idx="6">
                  <c:v>Jan 2017</c:v>
                </c:pt>
                <c:pt idx="7">
                  <c:v>Feb 2017</c:v>
                </c:pt>
                <c:pt idx="8">
                  <c:v>Mar 2017</c:v>
                </c:pt>
                <c:pt idx="9">
                  <c:v>Apr 2017</c:v>
                </c:pt>
                <c:pt idx="10">
                  <c:v>May 2017</c:v>
                </c:pt>
                <c:pt idx="11">
                  <c:v>Jun 2017</c:v>
                </c:pt>
                <c:pt idx="12">
                  <c:v>Jul 2017</c:v>
                </c:pt>
                <c:pt idx="13">
                  <c:v>Aug 2017</c:v>
                </c:pt>
                <c:pt idx="14">
                  <c:v>Sep 2017</c:v>
                </c:pt>
                <c:pt idx="15">
                  <c:v>Oct 2017</c:v>
                </c:pt>
                <c:pt idx="16">
                  <c:v>Nov 2017</c:v>
                </c:pt>
                <c:pt idx="17">
                  <c:v>Dec 2017</c:v>
                </c:pt>
                <c:pt idx="18">
                  <c:v>Jan 2018</c:v>
                </c:pt>
                <c:pt idx="19">
                  <c:v>Feb 2018</c:v>
                </c:pt>
                <c:pt idx="20">
                  <c:v>Mar 2018</c:v>
                </c:pt>
                <c:pt idx="21">
                  <c:v>Apr 2018</c:v>
                </c:pt>
                <c:pt idx="22">
                  <c:v>May 2018</c:v>
                </c:pt>
                <c:pt idx="23">
                  <c:v>Jun 2018</c:v>
                </c:pt>
              </c:strCache>
            </c:strRef>
          </c:cat>
          <c:val>
            <c:numRef>
              <c:f>summaries1!$J$33:$J$56</c:f>
              <c:numCache>
                <c:formatCode>_(* #,##0_);_(* \(#,##0\);_(* "-"??_);_(@_)</c:formatCode>
                <c:ptCount val="24"/>
                <c:pt idx="0">
                  <c:v>199161.85833333328</c:v>
                </c:pt>
                <c:pt idx="1">
                  <c:v>194795.60833333337</c:v>
                </c:pt>
                <c:pt idx="2">
                  <c:v>193390.50416666665</c:v>
                </c:pt>
                <c:pt idx="3">
                  <c:v>191657.75</c:v>
                </c:pt>
                <c:pt idx="4">
                  <c:v>191485.00833333333</c:v>
                </c:pt>
                <c:pt idx="5">
                  <c:v>188975.6333333333</c:v>
                </c:pt>
                <c:pt idx="6">
                  <c:v>190000.9</c:v>
                </c:pt>
                <c:pt idx="7">
                  <c:v>192448.34999999998</c:v>
                </c:pt>
                <c:pt idx="8">
                  <c:v>191056.47500000001</c:v>
                </c:pt>
                <c:pt idx="9">
                  <c:v>190852.49166666661</c:v>
                </c:pt>
                <c:pt idx="10">
                  <c:v>187311.875</c:v>
                </c:pt>
                <c:pt idx="11">
                  <c:v>189106.83333333328</c:v>
                </c:pt>
                <c:pt idx="12">
                  <c:v>189759.26666666669</c:v>
                </c:pt>
                <c:pt idx="13">
                  <c:v>193633.08333333328</c:v>
                </c:pt>
                <c:pt idx="14">
                  <c:v>193061.10416666666</c:v>
                </c:pt>
                <c:pt idx="15">
                  <c:v>192738.38749999992</c:v>
                </c:pt>
                <c:pt idx="16">
                  <c:v>191806.38749999992</c:v>
                </c:pt>
                <c:pt idx="17">
                  <c:v>191649.35833333328</c:v>
                </c:pt>
                <c:pt idx="18">
                  <c:v>190196.67083333331</c:v>
                </c:pt>
                <c:pt idx="19">
                  <c:v>189011.06666666665</c:v>
                </c:pt>
                <c:pt idx="20">
                  <c:v>189261.58749999994</c:v>
                </c:pt>
                <c:pt idx="21">
                  <c:v>187036.97083333333</c:v>
                </c:pt>
                <c:pt idx="22">
                  <c:v>190035.15</c:v>
                </c:pt>
                <c:pt idx="23">
                  <c:v>189515.8333333332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5F0B-4DEF-A6B0-9E348CBB54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5094784"/>
        <c:axId val="175108864"/>
      </c:lineChart>
      <c:catAx>
        <c:axId val="175094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5108864"/>
        <c:crosses val="autoZero"/>
        <c:auto val="1"/>
        <c:lblAlgn val="ctr"/>
        <c:lblOffset val="100"/>
        <c:noMultiLvlLbl val="0"/>
      </c:catAx>
      <c:valAx>
        <c:axId val="1751088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50947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9.9112314717885688E-2"/>
          <c:y val="0.8957048997729794"/>
          <c:w val="0.83645745148908435"/>
          <c:h val="8.793518553903774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Green Line Gated Stations,</a:t>
            </a:r>
            <a:r>
              <a:rPr lang="en-US" baseline="0"/>
              <a:t> 12-month rolling avg</a:t>
            </a:r>
            <a:endParaRPr lang="en-US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greenline gated stations'!$AI$2</c:f>
              <c:strCache>
                <c:ptCount val="1"/>
                <c:pt idx="0">
                  <c:v>Total Green Line Gated Stations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'greenline gated stations'!$A$15:$A$68</c:f>
              <c:strCache>
                <c:ptCount val="54"/>
                <c:pt idx="0">
                  <c:v>Jan 2014</c:v>
                </c:pt>
                <c:pt idx="1">
                  <c:v>Feb 2014</c:v>
                </c:pt>
                <c:pt idx="2">
                  <c:v>Mar 2014</c:v>
                </c:pt>
                <c:pt idx="3">
                  <c:v>Apr 2014</c:v>
                </c:pt>
                <c:pt idx="4">
                  <c:v>May 2014</c:v>
                </c:pt>
                <c:pt idx="5">
                  <c:v>Jun 2014</c:v>
                </c:pt>
                <c:pt idx="6">
                  <c:v>Jul 2014</c:v>
                </c:pt>
                <c:pt idx="7">
                  <c:v>Aug 2014</c:v>
                </c:pt>
                <c:pt idx="8">
                  <c:v>Sep 2014</c:v>
                </c:pt>
                <c:pt idx="9">
                  <c:v>Oct 2014</c:v>
                </c:pt>
                <c:pt idx="10">
                  <c:v>Nov 2014</c:v>
                </c:pt>
                <c:pt idx="11">
                  <c:v>Dec 2014</c:v>
                </c:pt>
                <c:pt idx="12">
                  <c:v>Jan 2015</c:v>
                </c:pt>
                <c:pt idx="13">
                  <c:v>Feb 2015</c:v>
                </c:pt>
                <c:pt idx="14">
                  <c:v>Mar 2015</c:v>
                </c:pt>
                <c:pt idx="15">
                  <c:v>Apr 2015</c:v>
                </c:pt>
                <c:pt idx="16">
                  <c:v>May 2015</c:v>
                </c:pt>
                <c:pt idx="17">
                  <c:v>Jun 2015</c:v>
                </c:pt>
                <c:pt idx="18">
                  <c:v>Jul 2015</c:v>
                </c:pt>
                <c:pt idx="19">
                  <c:v>Aug 2015</c:v>
                </c:pt>
                <c:pt idx="20">
                  <c:v>Sep 2015</c:v>
                </c:pt>
                <c:pt idx="21">
                  <c:v>Oct 2015</c:v>
                </c:pt>
                <c:pt idx="22">
                  <c:v>Nov 2015</c:v>
                </c:pt>
                <c:pt idx="23">
                  <c:v>Dec 2015</c:v>
                </c:pt>
                <c:pt idx="24">
                  <c:v>Jan 2016</c:v>
                </c:pt>
                <c:pt idx="25">
                  <c:v>Feb 2016</c:v>
                </c:pt>
                <c:pt idx="26">
                  <c:v>Mar 2016</c:v>
                </c:pt>
                <c:pt idx="27">
                  <c:v>Apr 2016</c:v>
                </c:pt>
                <c:pt idx="28">
                  <c:v>May 2016</c:v>
                </c:pt>
                <c:pt idx="29">
                  <c:v>Jun 2016</c:v>
                </c:pt>
                <c:pt idx="30">
                  <c:v>Jul 2016</c:v>
                </c:pt>
                <c:pt idx="31">
                  <c:v>Aug 2016</c:v>
                </c:pt>
                <c:pt idx="32">
                  <c:v>Sep 2016</c:v>
                </c:pt>
                <c:pt idx="33">
                  <c:v>Oct-16</c:v>
                </c:pt>
                <c:pt idx="34">
                  <c:v>Nov 2016</c:v>
                </c:pt>
                <c:pt idx="35">
                  <c:v>Dec 2016</c:v>
                </c:pt>
                <c:pt idx="36">
                  <c:v>Jan 2017</c:v>
                </c:pt>
                <c:pt idx="37">
                  <c:v>Feb 2017</c:v>
                </c:pt>
                <c:pt idx="38">
                  <c:v>Mar 2017</c:v>
                </c:pt>
                <c:pt idx="39">
                  <c:v>Apr 2017</c:v>
                </c:pt>
                <c:pt idx="40">
                  <c:v>May 2017</c:v>
                </c:pt>
                <c:pt idx="41">
                  <c:v>Jun 2017</c:v>
                </c:pt>
                <c:pt idx="42">
                  <c:v>Jul 2017</c:v>
                </c:pt>
                <c:pt idx="43">
                  <c:v>Aug 2017</c:v>
                </c:pt>
                <c:pt idx="44">
                  <c:v>Sep 2017</c:v>
                </c:pt>
                <c:pt idx="45">
                  <c:v>Oct 2017</c:v>
                </c:pt>
                <c:pt idx="46">
                  <c:v>Nov 2017</c:v>
                </c:pt>
                <c:pt idx="47">
                  <c:v>Dec 2017</c:v>
                </c:pt>
                <c:pt idx="48">
                  <c:v>Jan 2018</c:v>
                </c:pt>
                <c:pt idx="49">
                  <c:v>Feb 2018</c:v>
                </c:pt>
                <c:pt idx="50">
                  <c:v>Mar 2018</c:v>
                </c:pt>
                <c:pt idx="51">
                  <c:v>Apr 2018</c:v>
                </c:pt>
                <c:pt idx="52">
                  <c:v>May 2018</c:v>
                </c:pt>
                <c:pt idx="53">
                  <c:v>Jun 2018</c:v>
                </c:pt>
              </c:strCache>
            </c:strRef>
          </c:cat>
          <c:val>
            <c:numRef>
              <c:f>'greenline gated stations'!$AI$15:$AI$68</c:f>
              <c:numCache>
                <c:formatCode>_(* #,##0_);_(* \(#,##0\);_(* "-"??_);_(@_)</c:formatCode>
                <c:ptCount val="54"/>
                <c:pt idx="0">
                  <c:v>60745.604588174996</c:v>
                </c:pt>
                <c:pt idx="1">
                  <c:v>60785.591430280219</c:v>
                </c:pt>
                <c:pt idx="2">
                  <c:v>60756.271985835774</c:v>
                </c:pt>
                <c:pt idx="3">
                  <c:v>61221.296498822805</c:v>
                </c:pt>
                <c:pt idx="4">
                  <c:v>61167.812912964233</c:v>
                </c:pt>
                <c:pt idx="5">
                  <c:v>60765.897833599163</c:v>
                </c:pt>
                <c:pt idx="6">
                  <c:v>60455.988742690068</c:v>
                </c:pt>
                <c:pt idx="7">
                  <c:v>59929.73387256018</c:v>
                </c:pt>
                <c:pt idx="8">
                  <c:v>59561.334666210983</c:v>
                </c:pt>
                <c:pt idx="9">
                  <c:v>58968.374850664208</c:v>
                </c:pt>
                <c:pt idx="10">
                  <c:v>58380.69985066419</c:v>
                </c:pt>
                <c:pt idx="11">
                  <c:v>57986.522541861872</c:v>
                </c:pt>
                <c:pt idx="12">
                  <c:v>57387.457744451705</c:v>
                </c:pt>
                <c:pt idx="13">
                  <c:v>56663.924118720715</c:v>
                </c:pt>
                <c:pt idx="14">
                  <c:v>56450.65229332391</c:v>
                </c:pt>
                <c:pt idx="15">
                  <c:v>56105.134977306603</c:v>
                </c:pt>
                <c:pt idx="16">
                  <c:v>55704.507993179592</c:v>
                </c:pt>
                <c:pt idx="17">
                  <c:v>55791.471557393161</c:v>
                </c:pt>
                <c:pt idx="18">
                  <c:v>55731.331405878002</c:v>
                </c:pt>
                <c:pt idx="19">
                  <c:v>55836.489594911189</c:v>
                </c:pt>
                <c:pt idx="20">
                  <c:v>55763.084833006447</c:v>
                </c:pt>
                <c:pt idx="21">
                  <c:v>55451.750182150034</c:v>
                </c:pt>
                <c:pt idx="22">
                  <c:v>55387.57101548338</c:v>
                </c:pt>
                <c:pt idx="23">
                  <c:v>55098.032313243595</c:v>
                </c:pt>
                <c:pt idx="24">
                  <c:v>55047.118497454139</c:v>
                </c:pt>
                <c:pt idx="25">
                  <c:v>55153.007824939494</c:v>
                </c:pt>
                <c:pt idx="26">
                  <c:v>54870.431220384628</c:v>
                </c:pt>
                <c:pt idx="27">
                  <c:v>54627.287822116225</c:v>
                </c:pt>
                <c:pt idx="28">
                  <c:v>54501.184647513037</c:v>
                </c:pt>
                <c:pt idx="29">
                  <c:v>54154.964950543334</c:v>
                </c:pt>
                <c:pt idx="30">
                  <c:v>53848.420902924285</c:v>
                </c:pt>
                <c:pt idx="31">
                  <c:v>53678.087742123738</c:v>
                </c:pt>
                <c:pt idx="32">
                  <c:v>53467.766313552325</c:v>
                </c:pt>
                <c:pt idx="33">
                  <c:v>53574.61597476068</c:v>
                </c:pt>
                <c:pt idx="34">
                  <c:v>53530.169347776566</c:v>
                </c:pt>
                <c:pt idx="35">
                  <c:v>53415.999057921494</c:v>
                </c:pt>
                <c:pt idx="36">
                  <c:v>53528.653663184625</c:v>
                </c:pt>
                <c:pt idx="37">
                  <c:v>53463.004101781124</c:v>
                </c:pt>
                <c:pt idx="38">
                  <c:v>53255.409898882594</c:v>
                </c:pt>
                <c:pt idx="39">
                  <c:v>53245.183004943181</c:v>
                </c:pt>
                <c:pt idx="40">
                  <c:v>53263.249022259195</c:v>
                </c:pt>
                <c:pt idx="41">
                  <c:v>53279.487658622842</c:v>
                </c:pt>
                <c:pt idx="42">
                  <c:v>53213.806706241892</c:v>
                </c:pt>
                <c:pt idx="43">
                  <c:v>53197.828445372339</c:v>
                </c:pt>
                <c:pt idx="44">
                  <c:v>53293.041342197736</c:v>
                </c:pt>
                <c:pt idx="45">
                  <c:v>53259.23235951372</c:v>
                </c:pt>
                <c:pt idx="46">
                  <c:v>53300.779978561332</c:v>
                </c:pt>
                <c:pt idx="47">
                  <c:v>53483.461319141061</c:v>
                </c:pt>
                <c:pt idx="48">
                  <c:v>53260.325009617234</c:v>
                </c:pt>
                <c:pt idx="49">
                  <c:v>53239.149571020767</c:v>
                </c:pt>
                <c:pt idx="50">
                  <c:v>52992.215941244758</c:v>
                </c:pt>
                <c:pt idx="51">
                  <c:v>52921.380425371746</c:v>
                </c:pt>
                <c:pt idx="52">
                  <c:v>52873.043304159604</c:v>
                </c:pt>
                <c:pt idx="53">
                  <c:v>52689.37171325051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4168-4470-A003-8EAEA80778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6282240"/>
        <c:axId val="176300416"/>
      </c:lineChart>
      <c:catAx>
        <c:axId val="1762822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6300416"/>
        <c:crosses val="autoZero"/>
        <c:auto val="1"/>
        <c:lblAlgn val="ctr"/>
        <c:lblOffset val="100"/>
        <c:noMultiLvlLbl val="0"/>
      </c:catAx>
      <c:valAx>
        <c:axId val="176300416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6282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aseline="0" dirty="0" smtClean="0"/>
              <a:t>Green Line Gated Stations, FY17-FY18</a:t>
            </a:r>
            <a:endParaRPr lang="en-US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greenline gated stations'!$Q$2</c:f>
              <c:strCache>
                <c:ptCount val="1"/>
                <c:pt idx="0">
                  <c:v>Total Green Line Gated Stations</c:v>
                </c:pt>
              </c:strCache>
            </c:strRef>
          </c:tx>
          <c:spPr>
            <a:ln w="28575" cap="rnd">
              <a:solidFill>
                <a:srgbClr val="92D050"/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'greenline gated stations'!$A$45:$A$68</c:f>
              <c:strCache>
                <c:ptCount val="24"/>
                <c:pt idx="0">
                  <c:v>Jul 2016</c:v>
                </c:pt>
                <c:pt idx="1">
                  <c:v>Aug 2016</c:v>
                </c:pt>
                <c:pt idx="2">
                  <c:v>Sep 2016</c:v>
                </c:pt>
                <c:pt idx="3">
                  <c:v>Oct 2016</c:v>
                </c:pt>
                <c:pt idx="4">
                  <c:v>Nov 2016</c:v>
                </c:pt>
                <c:pt idx="5">
                  <c:v>Dec 2016</c:v>
                </c:pt>
                <c:pt idx="6">
                  <c:v>Jan 2017</c:v>
                </c:pt>
                <c:pt idx="7">
                  <c:v>Feb 2017</c:v>
                </c:pt>
                <c:pt idx="8">
                  <c:v>Mar 2017</c:v>
                </c:pt>
                <c:pt idx="9">
                  <c:v>Apr 2017</c:v>
                </c:pt>
                <c:pt idx="10">
                  <c:v>May 2017</c:v>
                </c:pt>
                <c:pt idx="11">
                  <c:v>Jun 2017</c:v>
                </c:pt>
                <c:pt idx="12">
                  <c:v>Jul 2017</c:v>
                </c:pt>
                <c:pt idx="13">
                  <c:v>Aug 2017</c:v>
                </c:pt>
                <c:pt idx="14">
                  <c:v>Sep 2017</c:v>
                </c:pt>
                <c:pt idx="15">
                  <c:v>Oct 2017</c:v>
                </c:pt>
                <c:pt idx="16">
                  <c:v>Nov 2017</c:v>
                </c:pt>
                <c:pt idx="17">
                  <c:v>Dec 2017</c:v>
                </c:pt>
                <c:pt idx="18">
                  <c:v>Jan 2018</c:v>
                </c:pt>
                <c:pt idx="19">
                  <c:v>Feb 2018</c:v>
                </c:pt>
                <c:pt idx="20">
                  <c:v>Mar 2018</c:v>
                </c:pt>
                <c:pt idx="21">
                  <c:v>Apr 2018</c:v>
                </c:pt>
                <c:pt idx="22">
                  <c:v>May 2018</c:v>
                </c:pt>
                <c:pt idx="23">
                  <c:v>Jun 2018</c:v>
                </c:pt>
              </c:strCache>
            </c:strRef>
          </c:cat>
          <c:val>
            <c:numRef>
              <c:f>'greenline gated stations'!$Q$45:$Q$68</c:f>
              <c:numCache>
                <c:formatCode>_(* #,##0_);_(* \(#,##0\);_(* "-"??_);_(@_)</c:formatCode>
                <c:ptCount val="24"/>
                <c:pt idx="0">
                  <c:v>55236.471428571414</c:v>
                </c:pt>
                <c:pt idx="1">
                  <c:v>52448.478260869568</c:v>
                </c:pt>
                <c:pt idx="2">
                  <c:v>55722.095238095237</c:v>
                </c:pt>
                <c:pt idx="3">
                  <c:v>55362.57142857142</c:v>
                </c:pt>
                <c:pt idx="4">
                  <c:v>53665.190476190481</c:v>
                </c:pt>
                <c:pt idx="5">
                  <c:v>47030.17391304348</c:v>
                </c:pt>
                <c:pt idx="6">
                  <c:v>49032.350000000013</c:v>
                </c:pt>
                <c:pt idx="7">
                  <c:v>51844.105263157886</c:v>
                </c:pt>
                <c:pt idx="8">
                  <c:v>51686.521739130425</c:v>
                </c:pt>
                <c:pt idx="9">
                  <c:v>57667.121428571409</c:v>
                </c:pt>
                <c:pt idx="10">
                  <c:v>54776.363636363632</c:v>
                </c:pt>
                <c:pt idx="11">
                  <c:v>54882.409090909088</c:v>
                </c:pt>
                <c:pt idx="12">
                  <c:v>54448.30000000001</c:v>
                </c:pt>
                <c:pt idx="13">
                  <c:v>52256.739130434784</c:v>
                </c:pt>
                <c:pt idx="14">
                  <c:v>56864.65</c:v>
                </c:pt>
                <c:pt idx="15">
                  <c:v>54956.863636363625</c:v>
                </c:pt>
                <c:pt idx="16">
                  <c:v>54163.761904761872</c:v>
                </c:pt>
                <c:pt idx="17">
                  <c:v>49222.350000000013</c:v>
                </c:pt>
                <c:pt idx="18">
                  <c:v>46354.714285714275</c:v>
                </c:pt>
                <c:pt idx="19">
                  <c:v>51590.000000000007</c:v>
                </c:pt>
                <c:pt idx="20">
                  <c:v>48723.318181818191</c:v>
                </c:pt>
                <c:pt idx="21">
                  <c:v>56817.095238095237</c:v>
                </c:pt>
                <c:pt idx="22">
                  <c:v>54196.318181818191</c:v>
                </c:pt>
                <c:pt idx="23">
                  <c:v>52678.35000000001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C59C-443B-AEF9-8094E5FC3A51}"/>
            </c:ext>
          </c:extLst>
        </c:ser>
        <c:ser>
          <c:idx val="1"/>
          <c:order val="1"/>
          <c:tx>
            <c:strRef>
              <c:f>'greenline gated stations'!$AI$2</c:f>
              <c:strCache>
                <c:ptCount val="1"/>
                <c:pt idx="0">
                  <c:v>Total Green Line Gated Stations Rolling Avg</c:v>
                </c:pt>
              </c:strCache>
            </c:strRef>
          </c:tx>
          <c:spPr>
            <a:ln w="28575" cap="rnd">
              <a:solidFill>
                <a:srgbClr val="92D05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'greenline gated stations'!$A$45:$A$68</c:f>
              <c:strCache>
                <c:ptCount val="24"/>
                <c:pt idx="0">
                  <c:v>Jul 2016</c:v>
                </c:pt>
                <c:pt idx="1">
                  <c:v>Aug 2016</c:v>
                </c:pt>
                <c:pt idx="2">
                  <c:v>Sep 2016</c:v>
                </c:pt>
                <c:pt idx="3">
                  <c:v>Oct 2016</c:v>
                </c:pt>
                <c:pt idx="4">
                  <c:v>Nov 2016</c:v>
                </c:pt>
                <c:pt idx="5">
                  <c:v>Dec 2016</c:v>
                </c:pt>
                <c:pt idx="6">
                  <c:v>Jan 2017</c:v>
                </c:pt>
                <c:pt idx="7">
                  <c:v>Feb 2017</c:v>
                </c:pt>
                <c:pt idx="8">
                  <c:v>Mar 2017</c:v>
                </c:pt>
                <c:pt idx="9">
                  <c:v>Apr 2017</c:v>
                </c:pt>
                <c:pt idx="10">
                  <c:v>May 2017</c:v>
                </c:pt>
                <c:pt idx="11">
                  <c:v>Jun 2017</c:v>
                </c:pt>
                <c:pt idx="12">
                  <c:v>Jul 2017</c:v>
                </c:pt>
                <c:pt idx="13">
                  <c:v>Aug 2017</c:v>
                </c:pt>
                <c:pt idx="14">
                  <c:v>Sep 2017</c:v>
                </c:pt>
                <c:pt idx="15">
                  <c:v>Oct 2017</c:v>
                </c:pt>
                <c:pt idx="16">
                  <c:v>Nov 2017</c:v>
                </c:pt>
                <c:pt idx="17">
                  <c:v>Dec 2017</c:v>
                </c:pt>
                <c:pt idx="18">
                  <c:v>Jan 2018</c:v>
                </c:pt>
                <c:pt idx="19">
                  <c:v>Feb 2018</c:v>
                </c:pt>
                <c:pt idx="20">
                  <c:v>Mar 2018</c:v>
                </c:pt>
                <c:pt idx="21">
                  <c:v>Apr 2018</c:v>
                </c:pt>
                <c:pt idx="22">
                  <c:v>May 2018</c:v>
                </c:pt>
                <c:pt idx="23">
                  <c:v>Jun 2018</c:v>
                </c:pt>
              </c:strCache>
            </c:strRef>
          </c:cat>
          <c:val>
            <c:numRef>
              <c:f>'greenline gated stations'!$AI$45:$AI$68</c:f>
              <c:numCache>
                <c:formatCode>_(* #,##0_);_(* \(#,##0\);_(* "-"??_);_(@_)</c:formatCode>
                <c:ptCount val="24"/>
                <c:pt idx="0">
                  <c:v>53848.420902924285</c:v>
                </c:pt>
                <c:pt idx="1">
                  <c:v>53678.087742123738</c:v>
                </c:pt>
                <c:pt idx="2">
                  <c:v>53467.766313552325</c:v>
                </c:pt>
                <c:pt idx="3">
                  <c:v>53574.61597476068</c:v>
                </c:pt>
                <c:pt idx="4">
                  <c:v>53530.169347776566</c:v>
                </c:pt>
                <c:pt idx="5">
                  <c:v>53415.999057921494</c:v>
                </c:pt>
                <c:pt idx="6">
                  <c:v>53528.653663184625</c:v>
                </c:pt>
                <c:pt idx="7">
                  <c:v>53463.004101781124</c:v>
                </c:pt>
                <c:pt idx="8">
                  <c:v>53255.409898882594</c:v>
                </c:pt>
                <c:pt idx="9">
                  <c:v>53245.183004943181</c:v>
                </c:pt>
                <c:pt idx="10">
                  <c:v>53263.249022259195</c:v>
                </c:pt>
                <c:pt idx="11">
                  <c:v>53279.487658622842</c:v>
                </c:pt>
                <c:pt idx="12">
                  <c:v>53213.806706241892</c:v>
                </c:pt>
                <c:pt idx="13">
                  <c:v>53197.828445372339</c:v>
                </c:pt>
                <c:pt idx="14">
                  <c:v>53293.041342197736</c:v>
                </c:pt>
                <c:pt idx="15">
                  <c:v>53259.23235951372</c:v>
                </c:pt>
                <c:pt idx="16">
                  <c:v>53300.779978561332</c:v>
                </c:pt>
                <c:pt idx="17">
                  <c:v>53483.461319141061</c:v>
                </c:pt>
                <c:pt idx="18">
                  <c:v>53260.325009617234</c:v>
                </c:pt>
                <c:pt idx="19">
                  <c:v>53239.149571020767</c:v>
                </c:pt>
                <c:pt idx="20">
                  <c:v>52992.215941244758</c:v>
                </c:pt>
                <c:pt idx="21">
                  <c:v>52921.380425371746</c:v>
                </c:pt>
                <c:pt idx="22">
                  <c:v>52873.043304159604</c:v>
                </c:pt>
                <c:pt idx="23">
                  <c:v>52689.37171325051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C59C-443B-AEF9-8094E5FC3A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6524672"/>
        <c:axId val="176694400"/>
      </c:lineChart>
      <c:catAx>
        <c:axId val="1765246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6694400"/>
        <c:crosses val="autoZero"/>
        <c:auto val="1"/>
        <c:lblAlgn val="ctr"/>
        <c:lblOffset val="100"/>
        <c:noMultiLvlLbl val="0"/>
      </c:catAx>
      <c:valAx>
        <c:axId val="1766944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65246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Bus 12-Month Rolling Average by Day</a:t>
            </a:r>
            <a:r>
              <a:rPr lang="en-US" baseline="0"/>
              <a:t> Type</a:t>
            </a:r>
            <a:endParaRPr lang="en-US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ummaries1!$L$2</c:f>
              <c:strCache>
                <c:ptCount val="1"/>
                <c:pt idx="0">
                  <c:v>Weekday Rolling Avg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cat>
            <c:strRef>
              <c:f>summaries1!$D$3:$D$56</c:f>
              <c:strCache>
                <c:ptCount val="54"/>
                <c:pt idx="0">
                  <c:v>Jan 2014</c:v>
                </c:pt>
                <c:pt idx="1">
                  <c:v>Feb 2014</c:v>
                </c:pt>
                <c:pt idx="2">
                  <c:v>Mar 2014</c:v>
                </c:pt>
                <c:pt idx="3">
                  <c:v>Apr 2014</c:v>
                </c:pt>
                <c:pt idx="4">
                  <c:v>May 2014</c:v>
                </c:pt>
                <c:pt idx="5">
                  <c:v>Jun 2014</c:v>
                </c:pt>
                <c:pt idx="6">
                  <c:v>Jul 2014</c:v>
                </c:pt>
                <c:pt idx="7">
                  <c:v>Aug 2014</c:v>
                </c:pt>
                <c:pt idx="8">
                  <c:v>Sep 2014</c:v>
                </c:pt>
                <c:pt idx="9">
                  <c:v>Oct 2014</c:v>
                </c:pt>
                <c:pt idx="10">
                  <c:v>Nov 2014</c:v>
                </c:pt>
                <c:pt idx="11">
                  <c:v>Dec 2014</c:v>
                </c:pt>
                <c:pt idx="12">
                  <c:v>Jan 2015</c:v>
                </c:pt>
                <c:pt idx="13">
                  <c:v>Feb 2015</c:v>
                </c:pt>
                <c:pt idx="14">
                  <c:v>Mar 2015</c:v>
                </c:pt>
                <c:pt idx="15">
                  <c:v>Apr 2015</c:v>
                </c:pt>
                <c:pt idx="16">
                  <c:v>May 2015</c:v>
                </c:pt>
                <c:pt idx="17">
                  <c:v>Jun 2015</c:v>
                </c:pt>
                <c:pt idx="18">
                  <c:v>Jul 2015</c:v>
                </c:pt>
                <c:pt idx="19">
                  <c:v>Aug 2015</c:v>
                </c:pt>
                <c:pt idx="20">
                  <c:v>Sep 2015</c:v>
                </c:pt>
                <c:pt idx="21">
                  <c:v>Oct 2015</c:v>
                </c:pt>
                <c:pt idx="22">
                  <c:v>Nov 2015</c:v>
                </c:pt>
                <c:pt idx="23">
                  <c:v>Dec 2015</c:v>
                </c:pt>
                <c:pt idx="24">
                  <c:v>Jan 2016</c:v>
                </c:pt>
                <c:pt idx="25">
                  <c:v>Feb 2016</c:v>
                </c:pt>
                <c:pt idx="26">
                  <c:v>Mar 2016</c:v>
                </c:pt>
                <c:pt idx="27">
                  <c:v>Apr 2016</c:v>
                </c:pt>
                <c:pt idx="28">
                  <c:v>May 2016</c:v>
                </c:pt>
                <c:pt idx="29">
                  <c:v>Jun 2016</c:v>
                </c:pt>
                <c:pt idx="30">
                  <c:v>Jul 2016</c:v>
                </c:pt>
                <c:pt idx="31">
                  <c:v>Aug 2016</c:v>
                </c:pt>
                <c:pt idx="32">
                  <c:v>Sep 2016</c:v>
                </c:pt>
                <c:pt idx="33">
                  <c:v>Oct 2016</c:v>
                </c:pt>
                <c:pt idx="34">
                  <c:v>Nov 2016</c:v>
                </c:pt>
                <c:pt idx="35">
                  <c:v>Dec 2016</c:v>
                </c:pt>
                <c:pt idx="36">
                  <c:v>Jan 2017</c:v>
                </c:pt>
                <c:pt idx="37">
                  <c:v>Feb 2017</c:v>
                </c:pt>
                <c:pt idx="38">
                  <c:v>Mar 2017</c:v>
                </c:pt>
                <c:pt idx="39">
                  <c:v>Apr 2017</c:v>
                </c:pt>
                <c:pt idx="40">
                  <c:v>May 2017</c:v>
                </c:pt>
                <c:pt idx="41">
                  <c:v>Jun 2017</c:v>
                </c:pt>
                <c:pt idx="42">
                  <c:v>Jul 2017</c:v>
                </c:pt>
                <c:pt idx="43">
                  <c:v>Aug 2017</c:v>
                </c:pt>
                <c:pt idx="44">
                  <c:v>Sep 2017</c:v>
                </c:pt>
                <c:pt idx="45">
                  <c:v>Oct 2017</c:v>
                </c:pt>
                <c:pt idx="46">
                  <c:v>Nov 2017</c:v>
                </c:pt>
                <c:pt idx="47">
                  <c:v>Dec 2017</c:v>
                </c:pt>
                <c:pt idx="48">
                  <c:v>Jan 2018</c:v>
                </c:pt>
                <c:pt idx="49">
                  <c:v>Feb 2018</c:v>
                </c:pt>
                <c:pt idx="50">
                  <c:v>Mar 2018</c:v>
                </c:pt>
                <c:pt idx="51">
                  <c:v>Apr 2018</c:v>
                </c:pt>
                <c:pt idx="52">
                  <c:v>May 2018</c:v>
                </c:pt>
                <c:pt idx="53">
                  <c:v>Jun 2018</c:v>
                </c:pt>
              </c:strCache>
            </c:strRef>
          </c:cat>
          <c:val>
            <c:numRef>
              <c:f>summaries1!$L$3:$L$56</c:f>
              <c:numCache>
                <c:formatCode>_(* #,##0_);_(* \(#,##0\);_(* "-"??_);_(@_)</c:formatCode>
                <c:ptCount val="54"/>
                <c:pt idx="0">
                  <c:v>332755.91238228156</c:v>
                </c:pt>
                <c:pt idx="1">
                  <c:v>332547.30273315852</c:v>
                </c:pt>
                <c:pt idx="2">
                  <c:v>332213.26920141262</c:v>
                </c:pt>
                <c:pt idx="3">
                  <c:v>332291.16746981081</c:v>
                </c:pt>
                <c:pt idx="4">
                  <c:v>331976.26902103733</c:v>
                </c:pt>
                <c:pt idx="5">
                  <c:v>331902.18925913254</c:v>
                </c:pt>
                <c:pt idx="6">
                  <c:v>331845.60971367825</c:v>
                </c:pt>
                <c:pt idx="7">
                  <c:v>331406.83680603019</c:v>
                </c:pt>
                <c:pt idx="8">
                  <c:v>330806.30347269692</c:v>
                </c:pt>
                <c:pt idx="9">
                  <c:v>329414.16052144516</c:v>
                </c:pt>
                <c:pt idx="10">
                  <c:v>329031.10196881369</c:v>
                </c:pt>
                <c:pt idx="11">
                  <c:v>329362.13515784685</c:v>
                </c:pt>
                <c:pt idx="12">
                  <c:v>327793.3895229263</c:v>
                </c:pt>
                <c:pt idx="13">
                  <c:v>322804.37197906652</c:v>
                </c:pt>
                <c:pt idx="14">
                  <c:v>322529.68328859052</c:v>
                </c:pt>
                <c:pt idx="15">
                  <c:v>321077.50525828724</c:v>
                </c:pt>
                <c:pt idx="16">
                  <c:v>320523.66696463648</c:v>
                </c:pt>
                <c:pt idx="17">
                  <c:v>319340.57172654115</c:v>
                </c:pt>
                <c:pt idx="18">
                  <c:v>318590.93651573767</c:v>
                </c:pt>
                <c:pt idx="19">
                  <c:v>318237.25000780117</c:v>
                </c:pt>
                <c:pt idx="20">
                  <c:v>317741.06349986471</c:v>
                </c:pt>
                <c:pt idx="21">
                  <c:v>317828.60039051017</c:v>
                </c:pt>
                <c:pt idx="22">
                  <c:v>317930.67144314171</c:v>
                </c:pt>
                <c:pt idx="23">
                  <c:v>316935.86478965031</c:v>
                </c:pt>
                <c:pt idx="24">
                  <c:v>319615.54066684336</c:v>
                </c:pt>
                <c:pt idx="25">
                  <c:v>323657.94636859774</c:v>
                </c:pt>
                <c:pt idx="26">
                  <c:v>323161.35734168254</c:v>
                </c:pt>
                <c:pt idx="27">
                  <c:v>323722.60932580958</c:v>
                </c:pt>
                <c:pt idx="28">
                  <c:v>323309.84047660325</c:v>
                </c:pt>
                <c:pt idx="29">
                  <c:v>323404.9313856943</c:v>
                </c:pt>
                <c:pt idx="30">
                  <c:v>323707.25674801285</c:v>
                </c:pt>
                <c:pt idx="31">
                  <c:v>323790.19722420344</c:v>
                </c:pt>
                <c:pt idx="32">
                  <c:v>323398.64960515581</c:v>
                </c:pt>
                <c:pt idx="33">
                  <c:v>322361.7574695138</c:v>
                </c:pt>
                <c:pt idx="34">
                  <c:v>321501.76619967242</c:v>
                </c:pt>
                <c:pt idx="35">
                  <c:v>320551.0273986184</c:v>
                </c:pt>
                <c:pt idx="36">
                  <c:v>319362.01402142551</c:v>
                </c:pt>
                <c:pt idx="37">
                  <c:v>317504.29691616225</c:v>
                </c:pt>
                <c:pt idx="38">
                  <c:v>315463.67735094484</c:v>
                </c:pt>
                <c:pt idx="39">
                  <c:v>314222.13786681776</c:v>
                </c:pt>
                <c:pt idx="40">
                  <c:v>313035.48815541813</c:v>
                </c:pt>
                <c:pt idx="41">
                  <c:v>312569.77982208482</c:v>
                </c:pt>
                <c:pt idx="42">
                  <c:v>311225.60898875137</c:v>
                </c:pt>
                <c:pt idx="43">
                  <c:v>310627.3807278818</c:v>
                </c:pt>
                <c:pt idx="44">
                  <c:v>309880.53568819963</c:v>
                </c:pt>
                <c:pt idx="45">
                  <c:v>309638.73842990218</c:v>
                </c:pt>
                <c:pt idx="46">
                  <c:v>309045.81779498135</c:v>
                </c:pt>
                <c:pt idx="47">
                  <c:v>308850.81438589061</c:v>
                </c:pt>
                <c:pt idx="48">
                  <c:v>306476.02450493816</c:v>
                </c:pt>
                <c:pt idx="49">
                  <c:v>307407.48503125412</c:v>
                </c:pt>
                <c:pt idx="50">
                  <c:v>307264.00314719602</c:v>
                </c:pt>
                <c:pt idx="51">
                  <c:v>306845.39580592624</c:v>
                </c:pt>
                <c:pt idx="52">
                  <c:v>306805.12307865365</c:v>
                </c:pt>
                <c:pt idx="53">
                  <c:v>306310.2113362293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0E84-4D3F-9EBA-713A72B23249}"/>
            </c:ext>
          </c:extLst>
        </c:ser>
        <c:ser>
          <c:idx val="1"/>
          <c:order val="1"/>
          <c:tx>
            <c:strRef>
              <c:f>summaries1!$O$2</c:f>
              <c:strCache>
                <c:ptCount val="1"/>
                <c:pt idx="0">
                  <c:v>Saturday Rolling Avg</c:v>
                </c:pt>
              </c:strCache>
            </c:strRef>
          </c:tx>
          <c:spPr>
            <a:ln w="28575" cap="rnd">
              <a:solidFill>
                <a:srgbClr val="FF9933"/>
              </a:solidFill>
              <a:round/>
            </a:ln>
            <a:effectLst/>
          </c:spPr>
          <c:marker>
            <c:symbol val="none"/>
          </c:marker>
          <c:cat>
            <c:strRef>
              <c:f>summaries1!$D$3:$D$56</c:f>
              <c:strCache>
                <c:ptCount val="54"/>
                <c:pt idx="0">
                  <c:v>Jan 2014</c:v>
                </c:pt>
                <c:pt idx="1">
                  <c:v>Feb 2014</c:v>
                </c:pt>
                <c:pt idx="2">
                  <c:v>Mar 2014</c:v>
                </c:pt>
                <c:pt idx="3">
                  <c:v>Apr 2014</c:v>
                </c:pt>
                <c:pt idx="4">
                  <c:v>May 2014</c:v>
                </c:pt>
                <c:pt idx="5">
                  <c:v>Jun 2014</c:v>
                </c:pt>
                <c:pt idx="6">
                  <c:v>Jul 2014</c:v>
                </c:pt>
                <c:pt idx="7">
                  <c:v>Aug 2014</c:v>
                </c:pt>
                <c:pt idx="8">
                  <c:v>Sep 2014</c:v>
                </c:pt>
                <c:pt idx="9">
                  <c:v>Oct 2014</c:v>
                </c:pt>
                <c:pt idx="10">
                  <c:v>Nov 2014</c:v>
                </c:pt>
                <c:pt idx="11">
                  <c:v>Dec 2014</c:v>
                </c:pt>
                <c:pt idx="12">
                  <c:v>Jan 2015</c:v>
                </c:pt>
                <c:pt idx="13">
                  <c:v>Feb 2015</c:v>
                </c:pt>
                <c:pt idx="14">
                  <c:v>Mar 2015</c:v>
                </c:pt>
                <c:pt idx="15">
                  <c:v>Apr 2015</c:v>
                </c:pt>
                <c:pt idx="16">
                  <c:v>May 2015</c:v>
                </c:pt>
                <c:pt idx="17">
                  <c:v>Jun 2015</c:v>
                </c:pt>
                <c:pt idx="18">
                  <c:v>Jul 2015</c:v>
                </c:pt>
                <c:pt idx="19">
                  <c:v>Aug 2015</c:v>
                </c:pt>
                <c:pt idx="20">
                  <c:v>Sep 2015</c:v>
                </c:pt>
                <c:pt idx="21">
                  <c:v>Oct 2015</c:v>
                </c:pt>
                <c:pt idx="22">
                  <c:v>Nov 2015</c:v>
                </c:pt>
                <c:pt idx="23">
                  <c:v>Dec 2015</c:v>
                </c:pt>
                <c:pt idx="24">
                  <c:v>Jan 2016</c:v>
                </c:pt>
                <c:pt idx="25">
                  <c:v>Feb 2016</c:v>
                </c:pt>
                <c:pt idx="26">
                  <c:v>Mar 2016</c:v>
                </c:pt>
                <c:pt idx="27">
                  <c:v>Apr 2016</c:v>
                </c:pt>
                <c:pt idx="28">
                  <c:v>May 2016</c:v>
                </c:pt>
                <c:pt idx="29">
                  <c:v>Jun 2016</c:v>
                </c:pt>
                <c:pt idx="30">
                  <c:v>Jul 2016</c:v>
                </c:pt>
                <c:pt idx="31">
                  <c:v>Aug 2016</c:v>
                </c:pt>
                <c:pt idx="32">
                  <c:v>Sep 2016</c:v>
                </c:pt>
                <c:pt idx="33">
                  <c:v>Oct 2016</c:v>
                </c:pt>
                <c:pt idx="34">
                  <c:v>Nov 2016</c:v>
                </c:pt>
                <c:pt idx="35">
                  <c:v>Dec 2016</c:v>
                </c:pt>
                <c:pt idx="36">
                  <c:v>Jan 2017</c:v>
                </c:pt>
                <c:pt idx="37">
                  <c:v>Feb 2017</c:v>
                </c:pt>
                <c:pt idx="38">
                  <c:v>Mar 2017</c:v>
                </c:pt>
                <c:pt idx="39">
                  <c:v>Apr 2017</c:v>
                </c:pt>
                <c:pt idx="40">
                  <c:v>May 2017</c:v>
                </c:pt>
                <c:pt idx="41">
                  <c:v>Jun 2017</c:v>
                </c:pt>
                <c:pt idx="42">
                  <c:v>Jul 2017</c:v>
                </c:pt>
                <c:pt idx="43">
                  <c:v>Aug 2017</c:v>
                </c:pt>
                <c:pt idx="44">
                  <c:v>Sep 2017</c:v>
                </c:pt>
                <c:pt idx="45">
                  <c:v>Oct 2017</c:v>
                </c:pt>
                <c:pt idx="46">
                  <c:v>Nov 2017</c:v>
                </c:pt>
                <c:pt idx="47">
                  <c:v>Dec 2017</c:v>
                </c:pt>
                <c:pt idx="48">
                  <c:v>Jan 2018</c:v>
                </c:pt>
                <c:pt idx="49">
                  <c:v>Feb 2018</c:v>
                </c:pt>
                <c:pt idx="50">
                  <c:v>Mar 2018</c:v>
                </c:pt>
                <c:pt idx="51">
                  <c:v>Apr 2018</c:v>
                </c:pt>
                <c:pt idx="52">
                  <c:v>May 2018</c:v>
                </c:pt>
                <c:pt idx="53">
                  <c:v>Jun 2018</c:v>
                </c:pt>
              </c:strCache>
            </c:strRef>
          </c:cat>
          <c:val>
            <c:numRef>
              <c:f>summaries1!$O$3:$O$56</c:f>
              <c:numCache>
                <c:formatCode>_(* #,##0_);_(* \(#,##0\);_(* "-"??_);_(@_)</c:formatCode>
                <c:ptCount val="54"/>
                <c:pt idx="0">
                  <c:v>173849.22083333335</c:v>
                </c:pt>
                <c:pt idx="1">
                  <c:v>177489.13750000004</c:v>
                </c:pt>
                <c:pt idx="2">
                  <c:v>176872.91527777785</c:v>
                </c:pt>
                <c:pt idx="3">
                  <c:v>176372.12361111108</c:v>
                </c:pt>
                <c:pt idx="4">
                  <c:v>176609.60277777785</c:v>
                </c:pt>
                <c:pt idx="5">
                  <c:v>176716.2819444444</c:v>
                </c:pt>
                <c:pt idx="6">
                  <c:v>176767.26111111106</c:v>
                </c:pt>
                <c:pt idx="7">
                  <c:v>176382.44444444441</c:v>
                </c:pt>
                <c:pt idx="8">
                  <c:v>176145.79861111109</c:v>
                </c:pt>
                <c:pt idx="9">
                  <c:v>175866.73611111109</c:v>
                </c:pt>
                <c:pt idx="10">
                  <c:v>174899.48611111107</c:v>
                </c:pt>
                <c:pt idx="11">
                  <c:v>175241.06944444441</c:v>
                </c:pt>
                <c:pt idx="12">
                  <c:v>174920.20694444451</c:v>
                </c:pt>
                <c:pt idx="13">
                  <c:v>173624.29027777785</c:v>
                </c:pt>
                <c:pt idx="14">
                  <c:v>172676.63749999998</c:v>
                </c:pt>
                <c:pt idx="15">
                  <c:v>172846.19999999998</c:v>
                </c:pt>
                <c:pt idx="16">
                  <c:v>172729.78333333333</c:v>
                </c:pt>
                <c:pt idx="17">
                  <c:v>172354.61666666667</c:v>
                </c:pt>
                <c:pt idx="18">
                  <c:v>174612.92916666661</c:v>
                </c:pt>
                <c:pt idx="19">
                  <c:v>174070.39583333328</c:v>
                </c:pt>
                <c:pt idx="20">
                  <c:v>173683.20833333334</c:v>
                </c:pt>
                <c:pt idx="21">
                  <c:v>173218.94583333333</c:v>
                </c:pt>
                <c:pt idx="22">
                  <c:v>172801.77083333334</c:v>
                </c:pt>
                <c:pt idx="23">
                  <c:v>172647.91666666666</c:v>
                </c:pt>
                <c:pt idx="24">
                  <c:v>172502.13333333333</c:v>
                </c:pt>
                <c:pt idx="25">
                  <c:v>172453.84166666665</c:v>
                </c:pt>
                <c:pt idx="26">
                  <c:v>172701.11250000008</c:v>
                </c:pt>
                <c:pt idx="27">
                  <c:v>171790.83333333328</c:v>
                </c:pt>
                <c:pt idx="28">
                  <c:v>171083.29166666666</c:v>
                </c:pt>
                <c:pt idx="29">
                  <c:v>170694.52083333328</c:v>
                </c:pt>
                <c:pt idx="30">
                  <c:v>167678.55416666661</c:v>
                </c:pt>
                <c:pt idx="31">
                  <c:v>167466.80416666661</c:v>
                </c:pt>
                <c:pt idx="32">
                  <c:v>166841.38749999992</c:v>
                </c:pt>
                <c:pt idx="33">
                  <c:v>165711.80416666661</c:v>
                </c:pt>
                <c:pt idx="34">
                  <c:v>165450.76249999998</c:v>
                </c:pt>
                <c:pt idx="35">
                  <c:v>162811.55000000002</c:v>
                </c:pt>
                <c:pt idx="36">
                  <c:v>162285.11250000008</c:v>
                </c:pt>
                <c:pt idx="37">
                  <c:v>161796.65416666665</c:v>
                </c:pt>
                <c:pt idx="38">
                  <c:v>159147.82083333327</c:v>
                </c:pt>
                <c:pt idx="39">
                  <c:v>157646.77083333334</c:v>
                </c:pt>
                <c:pt idx="40">
                  <c:v>156557</c:v>
                </c:pt>
                <c:pt idx="41">
                  <c:v>155617.4375</c:v>
                </c:pt>
                <c:pt idx="42">
                  <c:v>154660.98750000002</c:v>
                </c:pt>
                <c:pt idx="43">
                  <c:v>153826.84166666665</c:v>
                </c:pt>
                <c:pt idx="44">
                  <c:v>152747.23333333334</c:v>
                </c:pt>
                <c:pt idx="45">
                  <c:v>153353.22500000001</c:v>
                </c:pt>
                <c:pt idx="46">
                  <c:v>152556.03750000001</c:v>
                </c:pt>
                <c:pt idx="47">
                  <c:v>152458.9541666666</c:v>
                </c:pt>
                <c:pt idx="48">
                  <c:v>151621.47500000001</c:v>
                </c:pt>
                <c:pt idx="49">
                  <c:v>151198.24583333338</c:v>
                </c:pt>
                <c:pt idx="50">
                  <c:v>152209.01666666666</c:v>
                </c:pt>
                <c:pt idx="51">
                  <c:v>152746.11666666667</c:v>
                </c:pt>
                <c:pt idx="52">
                  <c:v>152217.78333333333</c:v>
                </c:pt>
                <c:pt idx="53">
                  <c:v>153887.687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0E84-4D3F-9EBA-713A72B23249}"/>
            </c:ext>
          </c:extLst>
        </c:ser>
        <c:ser>
          <c:idx val="2"/>
          <c:order val="2"/>
          <c:tx>
            <c:strRef>
              <c:f>summaries1!$Q$2</c:f>
              <c:strCache>
                <c:ptCount val="1"/>
                <c:pt idx="0">
                  <c:v>Sunday Rolling Avg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ummaries1!$D$3:$D$56</c:f>
              <c:strCache>
                <c:ptCount val="54"/>
                <c:pt idx="0">
                  <c:v>Jan 2014</c:v>
                </c:pt>
                <c:pt idx="1">
                  <c:v>Feb 2014</c:v>
                </c:pt>
                <c:pt idx="2">
                  <c:v>Mar 2014</c:v>
                </c:pt>
                <c:pt idx="3">
                  <c:v>Apr 2014</c:v>
                </c:pt>
                <c:pt idx="4">
                  <c:v>May 2014</c:v>
                </c:pt>
                <c:pt idx="5">
                  <c:v>Jun 2014</c:v>
                </c:pt>
                <c:pt idx="6">
                  <c:v>Jul 2014</c:v>
                </c:pt>
                <c:pt idx="7">
                  <c:v>Aug 2014</c:v>
                </c:pt>
                <c:pt idx="8">
                  <c:v>Sep 2014</c:v>
                </c:pt>
                <c:pt idx="9">
                  <c:v>Oct 2014</c:v>
                </c:pt>
                <c:pt idx="10">
                  <c:v>Nov 2014</c:v>
                </c:pt>
                <c:pt idx="11">
                  <c:v>Dec 2014</c:v>
                </c:pt>
                <c:pt idx="12">
                  <c:v>Jan 2015</c:v>
                </c:pt>
                <c:pt idx="13">
                  <c:v>Feb 2015</c:v>
                </c:pt>
                <c:pt idx="14">
                  <c:v>Mar 2015</c:v>
                </c:pt>
                <c:pt idx="15">
                  <c:v>Apr 2015</c:v>
                </c:pt>
                <c:pt idx="16">
                  <c:v>May 2015</c:v>
                </c:pt>
                <c:pt idx="17">
                  <c:v>Jun 2015</c:v>
                </c:pt>
                <c:pt idx="18">
                  <c:v>Jul 2015</c:v>
                </c:pt>
                <c:pt idx="19">
                  <c:v>Aug 2015</c:v>
                </c:pt>
                <c:pt idx="20">
                  <c:v>Sep 2015</c:v>
                </c:pt>
                <c:pt idx="21">
                  <c:v>Oct 2015</c:v>
                </c:pt>
                <c:pt idx="22">
                  <c:v>Nov 2015</c:v>
                </c:pt>
                <c:pt idx="23">
                  <c:v>Dec 2015</c:v>
                </c:pt>
                <c:pt idx="24">
                  <c:v>Jan 2016</c:v>
                </c:pt>
                <c:pt idx="25">
                  <c:v>Feb 2016</c:v>
                </c:pt>
                <c:pt idx="26">
                  <c:v>Mar 2016</c:v>
                </c:pt>
                <c:pt idx="27">
                  <c:v>Apr 2016</c:v>
                </c:pt>
                <c:pt idx="28">
                  <c:v>May 2016</c:v>
                </c:pt>
                <c:pt idx="29">
                  <c:v>Jun 2016</c:v>
                </c:pt>
                <c:pt idx="30">
                  <c:v>Jul 2016</c:v>
                </c:pt>
                <c:pt idx="31">
                  <c:v>Aug 2016</c:v>
                </c:pt>
                <c:pt idx="32">
                  <c:v>Sep 2016</c:v>
                </c:pt>
                <c:pt idx="33">
                  <c:v>Oct 2016</c:v>
                </c:pt>
                <c:pt idx="34">
                  <c:v>Nov 2016</c:v>
                </c:pt>
                <c:pt idx="35">
                  <c:v>Dec 2016</c:v>
                </c:pt>
                <c:pt idx="36">
                  <c:v>Jan 2017</c:v>
                </c:pt>
                <c:pt idx="37">
                  <c:v>Feb 2017</c:v>
                </c:pt>
                <c:pt idx="38">
                  <c:v>Mar 2017</c:v>
                </c:pt>
                <c:pt idx="39">
                  <c:v>Apr 2017</c:v>
                </c:pt>
                <c:pt idx="40">
                  <c:v>May 2017</c:v>
                </c:pt>
                <c:pt idx="41">
                  <c:v>Jun 2017</c:v>
                </c:pt>
                <c:pt idx="42">
                  <c:v>Jul 2017</c:v>
                </c:pt>
                <c:pt idx="43">
                  <c:v>Aug 2017</c:v>
                </c:pt>
                <c:pt idx="44">
                  <c:v>Sep 2017</c:v>
                </c:pt>
                <c:pt idx="45">
                  <c:v>Oct 2017</c:v>
                </c:pt>
                <c:pt idx="46">
                  <c:v>Nov 2017</c:v>
                </c:pt>
                <c:pt idx="47">
                  <c:v>Dec 2017</c:v>
                </c:pt>
                <c:pt idx="48">
                  <c:v>Jan 2018</c:v>
                </c:pt>
                <c:pt idx="49">
                  <c:v>Feb 2018</c:v>
                </c:pt>
                <c:pt idx="50">
                  <c:v>Mar 2018</c:v>
                </c:pt>
                <c:pt idx="51">
                  <c:v>Apr 2018</c:v>
                </c:pt>
                <c:pt idx="52">
                  <c:v>May 2018</c:v>
                </c:pt>
                <c:pt idx="53">
                  <c:v>Jun 2018</c:v>
                </c:pt>
              </c:strCache>
            </c:strRef>
          </c:cat>
          <c:val>
            <c:numRef>
              <c:f>summaries1!$Q$3:$Q$56</c:f>
              <c:numCache>
                <c:formatCode>_(* #,##0_);_(* \(#,##0\);_(* "-"??_);_(@_)</c:formatCode>
                <c:ptCount val="54"/>
                <c:pt idx="0">
                  <c:v>106607.36249999999</c:v>
                </c:pt>
                <c:pt idx="1">
                  <c:v>109587.40416666667</c:v>
                </c:pt>
                <c:pt idx="2">
                  <c:v>109267.23749999999</c:v>
                </c:pt>
                <c:pt idx="3">
                  <c:v>108904.50833333335</c:v>
                </c:pt>
                <c:pt idx="4">
                  <c:v>109031.34166666666</c:v>
                </c:pt>
                <c:pt idx="5">
                  <c:v>109188.52500000002</c:v>
                </c:pt>
                <c:pt idx="6">
                  <c:v>108997.94166666667</c:v>
                </c:pt>
                <c:pt idx="7">
                  <c:v>108972.04583333334</c:v>
                </c:pt>
                <c:pt idx="8">
                  <c:v>109605.27083333333</c:v>
                </c:pt>
                <c:pt idx="9">
                  <c:v>110320.27083333333</c:v>
                </c:pt>
                <c:pt idx="10">
                  <c:v>110437.10833333335</c:v>
                </c:pt>
                <c:pt idx="11">
                  <c:v>111284.08333333336</c:v>
                </c:pt>
                <c:pt idx="12">
                  <c:v>111322.87500000003</c:v>
                </c:pt>
                <c:pt idx="13">
                  <c:v>108541.2291666667</c:v>
                </c:pt>
                <c:pt idx="14">
                  <c:v>108716.5291666667</c:v>
                </c:pt>
                <c:pt idx="15">
                  <c:v>108903.40416666667</c:v>
                </c:pt>
                <c:pt idx="16">
                  <c:v>108998.14583333333</c:v>
                </c:pt>
                <c:pt idx="17">
                  <c:v>108042.45416666666</c:v>
                </c:pt>
                <c:pt idx="18">
                  <c:v>108037.99583333331</c:v>
                </c:pt>
                <c:pt idx="19">
                  <c:v>107790.69583333335</c:v>
                </c:pt>
                <c:pt idx="20">
                  <c:v>107560.48749999999</c:v>
                </c:pt>
                <c:pt idx="21">
                  <c:v>106922.6541666667</c:v>
                </c:pt>
                <c:pt idx="22">
                  <c:v>106758.42083333334</c:v>
                </c:pt>
                <c:pt idx="23">
                  <c:v>106515.35833333335</c:v>
                </c:pt>
                <c:pt idx="24">
                  <c:v>105940.36249999999</c:v>
                </c:pt>
                <c:pt idx="25">
                  <c:v>107819.50833333335</c:v>
                </c:pt>
                <c:pt idx="26">
                  <c:v>107328.19583333335</c:v>
                </c:pt>
                <c:pt idx="27">
                  <c:v>107066.17500000003</c:v>
                </c:pt>
                <c:pt idx="28">
                  <c:v>106430.65833333335</c:v>
                </c:pt>
                <c:pt idx="29">
                  <c:v>106801.74166666667</c:v>
                </c:pt>
                <c:pt idx="30">
                  <c:v>106770.17083333335</c:v>
                </c:pt>
                <c:pt idx="31">
                  <c:v>106814.72083333333</c:v>
                </c:pt>
                <c:pt idx="32">
                  <c:v>106432.84583333333</c:v>
                </c:pt>
                <c:pt idx="33">
                  <c:v>105697.82083333332</c:v>
                </c:pt>
                <c:pt idx="34">
                  <c:v>105348.46666666663</c:v>
                </c:pt>
                <c:pt idx="35">
                  <c:v>103992.1541666667</c:v>
                </c:pt>
                <c:pt idx="36">
                  <c:v>103302.83749999998</c:v>
                </c:pt>
                <c:pt idx="37">
                  <c:v>103107.56666666664</c:v>
                </c:pt>
                <c:pt idx="38">
                  <c:v>102166.33749999998</c:v>
                </c:pt>
                <c:pt idx="39">
                  <c:v>101792.32500000003</c:v>
                </c:pt>
                <c:pt idx="40">
                  <c:v>101150.30833333333</c:v>
                </c:pt>
                <c:pt idx="41">
                  <c:v>101022.03750000001</c:v>
                </c:pt>
                <c:pt idx="42">
                  <c:v>100705.05416666665</c:v>
                </c:pt>
                <c:pt idx="43">
                  <c:v>100384.30416666665</c:v>
                </c:pt>
                <c:pt idx="44">
                  <c:v>99822.512499999968</c:v>
                </c:pt>
                <c:pt idx="45">
                  <c:v>100065.29583333334</c:v>
                </c:pt>
                <c:pt idx="46">
                  <c:v>99884.379166666695</c:v>
                </c:pt>
                <c:pt idx="47">
                  <c:v>99809.845833333311</c:v>
                </c:pt>
                <c:pt idx="48">
                  <c:v>99688.512499999968</c:v>
                </c:pt>
                <c:pt idx="49">
                  <c:v>99098.262499999968</c:v>
                </c:pt>
                <c:pt idx="50">
                  <c:v>99392.887499999997</c:v>
                </c:pt>
                <c:pt idx="51">
                  <c:v>98575.854166666657</c:v>
                </c:pt>
                <c:pt idx="52">
                  <c:v>98410.166666666672</c:v>
                </c:pt>
                <c:pt idx="53">
                  <c:v>98660.79583333330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0E84-4D3F-9EBA-713A72B232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6700416"/>
        <c:axId val="176841472"/>
      </c:lineChart>
      <c:catAx>
        <c:axId val="1767004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6841472"/>
        <c:crosses val="autoZero"/>
        <c:auto val="1"/>
        <c:lblAlgn val="ctr"/>
        <c:lblOffset val="100"/>
        <c:noMultiLvlLbl val="0"/>
      </c:catAx>
      <c:valAx>
        <c:axId val="176841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67004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Bus Average</a:t>
            </a:r>
            <a:r>
              <a:rPr lang="en-US" baseline="0" dirty="0"/>
              <a:t> by Day Type, </a:t>
            </a:r>
            <a:r>
              <a:rPr lang="en-US" baseline="0" dirty="0" smtClean="0"/>
              <a:t>FY17-FY18</a:t>
            </a:r>
            <a:endParaRPr lang="en-US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ummaries1!$K$2</c:f>
              <c:strCache>
                <c:ptCount val="1"/>
                <c:pt idx="0">
                  <c:v>Avg. Weekday Taps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summaries1!$D$33:$D$56</c:f>
              <c:strCache>
                <c:ptCount val="24"/>
                <c:pt idx="0">
                  <c:v>Jul 2016</c:v>
                </c:pt>
                <c:pt idx="1">
                  <c:v>Aug 2016</c:v>
                </c:pt>
                <c:pt idx="2">
                  <c:v>Sep 2016</c:v>
                </c:pt>
                <c:pt idx="3">
                  <c:v>Oct 2016</c:v>
                </c:pt>
                <c:pt idx="4">
                  <c:v>Nov 2016</c:v>
                </c:pt>
                <c:pt idx="5">
                  <c:v>Dec 2016</c:v>
                </c:pt>
                <c:pt idx="6">
                  <c:v>Jan 2017</c:v>
                </c:pt>
                <c:pt idx="7">
                  <c:v>Feb 2017</c:v>
                </c:pt>
                <c:pt idx="8">
                  <c:v>Mar 2017</c:v>
                </c:pt>
                <c:pt idx="9">
                  <c:v>Apr 2017</c:v>
                </c:pt>
                <c:pt idx="10">
                  <c:v>May 2017</c:v>
                </c:pt>
                <c:pt idx="11">
                  <c:v>Jun 2017</c:v>
                </c:pt>
                <c:pt idx="12">
                  <c:v>Jul 2017</c:v>
                </c:pt>
                <c:pt idx="13">
                  <c:v>Aug 2017</c:v>
                </c:pt>
                <c:pt idx="14">
                  <c:v>Sep 2017</c:v>
                </c:pt>
                <c:pt idx="15">
                  <c:v>Oct 2017</c:v>
                </c:pt>
                <c:pt idx="16">
                  <c:v>Nov 2017</c:v>
                </c:pt>
                <c:pt idx="17">
                  <c:v>Dec 2017</c:v>
                </c:pt>
                <c:pt idx="18">
                  <c:v>Jan 2018</c:v>
                </c:pt>
                <c:pt idx="19">
                  <c:v>Feb 2018</c:v>
                </c:pt>
                <c:pt idx="20">
                  <c:v>Mar 2018</c:v>
                </c:pt>
                <c:pt idx="21">
                  <c:v>Apr 2018</c:v>
                </c:pt>
                <c:pt idx="22">
                  <c:v>May 2018</c:v>
                </c:pt>
                <c:pt idx="23">
                  <c:v>Jun 2018</c:v>
                </c:pt>
              </c:strCache>
            </c:strRef>
          </c:cat>
          <c:val>
            <c:numRef>
              <c:f>summaries1!$K$33:$K$56</c:f>
              <c:numCache>
                <c:formatCode>_(* #,##0_);_(* \(#,##0\);_(* "-"??_);_(@_)</c:formatCode>
                <c:ptCount val="24"/>
                <c:pt idx="0">
                  <c:v>306544.59999999998</c:v>
                </c:pt>
                <c:pt idx="1">
                  <c:v>299823</c:v>
                </c:pt>
                <c:pt idx="2">
                  <c:v>334483.19047619047</c:v>
                </c:pt>
                <c:pt idx="3">
                  <c:v>328384.47619047621</c:v>
                </c:pt>
                <c:pt idx="4">
                  <c:v>320599.90476190485</c:v>
                </c:pt>
                <c:pt idx="5">
                  <c:v>285556.09090909088</c:v>
                </c:pt>
                <c:pt idx="6">
                  <c:v>314153.05</c:v>
                </c:pt>
                <c:pt idx="7">
                  <c:v>300773.89473684196</c:v>
                </c:pt>
                <c:pt idx="8">
                  <c:v>311353.78260869568</c:v>
                </c:pt>
                <c:pt idx="9">
                  <c:v>315286.05</c:v>
                </c:pt>
                <c:pt idx="10">
                  <c:v>321827.72727272741</c:v>
                </c:pt>
                <c:pt idx="11">
                  <c:v>312051.59090909088</c:v>
                </c:pt>
                <c:pt idx="12">
                  <c:v>290414.55</c:v>
                </c:pt>
                <c:pt idx="13">
                  <c:v>292644.26086956525</c:v>
                </c:pt>
                <c:pt idx="14">
                  <c:v>325521.05</c:v>
                </c:pt>
                <c:pt idx="15">
                  <c:v>325482.90909090923</c:v>
                </c:pt>
                <c:pt idx="16">
                  <c:v>313484.85714285716</c:v>
                </c:pt>
                <c:pt idx="17">
                  <c:v>283216.05</c:v>
                </c:pt>
                <c:pt idx="18">
                  <c:v>285655.57142857142</c:v>
                </c:pt>
                <c:pt idx="19">
                  <c:v>311951.42105263157</c:v>
                </c:pt>
                <c:pt idx="20" formatCode="General">
                  <c:v>309632</c:v>
                </c:pt>
                <c:pt idx="21">
                  <c:v>310262.76190476189</c:v>
                </c:pt>
                <c:pt idx="22">
                  <c:v>321344.4545454547</c:v>
                </c:pt>
                <c:pt idx="23">
                  <c:v>306682.7619047618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4BA8-46D7-952F-97B8A84B4A92}"/>
            </c:ext>
          </c:extLst>
        </c:ser>
        <c:ser>
          <c:idx val="1"/>
          <c:order val="1"/>
          <c:tx>
            <c:strRef>
              <c:f>summaries1!$L$2</c:f>
              <c:strCache>
                <c:ptCount val="1"/>
                <c:pt idx="0">
                  <c:v>Weekday Rolling Avg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summaries1!$D$33:$D$56</c:f>
              <c:strCache>
                <c:ptCount val="24"/>
                <c:pt idx="0">
                  <c:v>Jul 2016</c:v>
                </c:pt>
                <c:pt idx="1">
                  <c:v>Aug 2016</c:v>
                </c:pt>
                <c:pt idx="2">
                  <c:v>Sep 2016</c:v>
                </c:pt>
                <c:pt idx="3">
                  <c:v>Oct 2016</c:v>
                </c:pt>
                <c:pt idx="4">
                  <c:v>Nov 2016</c:v>
                </c:pt>
                <c:pt idx="5">
                  <c:v>Dec 2016</c:v>
                </c:pt>
                <c:pt idx="6">
                  <c:v>Jan 2017</c:v>
                </c:pt>
                <c:pt idx="7">
                  <c:v>Feb 2017</c:v>
                </c:pt>
                <c:pt idx="8">
                  <c:v>Mar 2017</c:v>
                </c:pt>
                <c:pt idx="9">
                  <c:v>Apr 2017</c:v>
                </c:pt>
                <c:pt idx="10">
                  <c:v>May 2017</c:v>
                </c:pt>
                <c:pt idx="11">
                  <c:v>Jun 2017</c:v>
                </c:pt>
                <c:pt idx="12">
                  <c:v>Jul 2017</c:v>
                </c:pt>
                <c:pt idx="13">
                  <c:v>Aug 2017</c:v>
                </c:pt>
                <c:pt idx="14">
                  <c:v>Sep 2017</c:v>
                </c:pt>
                <c:pt idx="15">
                  <c:v>Oct 2017</c:v>
                </c:pt>
                <c:pt idx="16">
                  <c:v>Nov 2017</c:v>
                </c:pt>
                <c:pt idx="17">
                  <c:v>Dec 2017</c:v>
                </c:pt>
                <c:pt idx="18">
                  <c:v>Jan 2018</c:v>
                </c:pt>
                <c:pt idx="19">
                  <c:v>Feb 2018</c:v>
                </c:pt>
                <c:pt idx="20">
                  <c:v>Mar 2018</c:v>
                </c:pt>
                <c:pt idx="21">
                  <c:v>Apr 2018</c:v>
                </c:pt>
                <c:pt idx="22">
                  <c:v>May 2018</c:v>
                </c:pt>
                <c:pt idx="23">
                  <c:v>Jun 2018</c:v>
                </c:pt>
              </c:strCache>
            </c:strRef>
          </c:cat>
          <c:val>
            <c:numRef>
              <c:f>summaries1!$L$33:$L$56</c:f>
              <c:numCache>
                <c:formatCode>_(* #,##0_);_(* \(#,##0\);_(* "-"??_);_(@_)</c:formatCode>
                <c:ptCount val="24"/>
                <c:pt idx="0">
                  <c:v>323707.25674801285</c:v>
                </c:pt>
                <c:pt idx="1">
                  <c:v>323790.19722420344</c:v>
                </c:pt>
                <c:pt idx="2">
                  <c:v>323398.64960515581</c:v>
                </c:pt>
                <c:pt idx="3">
                  <c:v>322361.7574695138</c:v>
                </c:pt>
                <c:pt idx="4">
                  <c:v>321501.76619967242</c:v>
                </c:pt>
                <c:pt idx="5">
                  <c:v>320551.0273986184</c:v>
                </c:pt>
                <c:pt idx="6">
                  <c:v>319362.01402142551</c:v>
                </c:pt>
                <c:pt idx="7">
                  <c:v>317504.29691616225</c:v>
                </c:pt>
                <c:pt idx="8">
                  <c:v>315463.67735094484</c:v>
                </c:pt>
                <c:pt idx="9">
                  <c:v>314222.13786681776</c:v>
                </c:pt>
                <c:pt idx="10">
                  <c:v>313035.48815541813</c:v>
                </c:pt>
                <c:pt idx="11">
                  <c:v>312569.77982208482</c:v>
                </c:pt>
                <c:pt idx="12">
                  <c:v>311225.60898875137</c:v>
                </c:pt>
                <c:pt idx="13">
                  <c:v>310627.3807278818</c:v>
                </c:pt>
                <c:pt idx="14">
                  <c:v>309880.53568819963</c:v>
                </c:pt>
                <c:pt idx="15">
                  <c:v>309638.73842990218</c:v>
                </c:pt>
                <c:pt idx="16">
                  <c:v>309045.81779498135</c:v>
                </c:pt>
                <c:pt idx="17">
                  <c:v>308850.81438589061</c:v>
                </c:pt>
                <c:pt idx="18">
                  <c:v>306476.02450493816</c:v>
                </c:pt>
                <c:pt idx="19">
                  <c:v>307407.48503125412</c:v>
                </c:pt>
                <c:pt idx="20">
                  <c:v>307264.00314719602</c:v>
                </c:pt>
                <c:pt idx="21">
                  <c:v>306845.39580592624</c:v>
                </c:pt>
                <c:pt idx="22">
                  <c:v>306805.12307865365</c:v>
                </c:pt>
                <c:pt idx="23">
                  <c:v>306310.2113362293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4BA8-46D7-952F-97B8A84B4A92}"/>
            </c:ext>
          </c:extLst>
        </c:ser>
        <c:ser>
          <c:idx val="2"/>
          <c:order val="2"/>
          <c:tx>
            <c:strRef>
              <c:f>summaries1!$M$2</c:f>
              <c:strCache>
                <c:ptCount val="1"/>
                <c:pt idx="0">
                  <c:v>Avg. Saturday Taps</c:v>
                </c:pt>
              </c:strCache>
            </c:strRef>
          </c:tx>
          <c:spPr>
            <a:ln w="28575" cap="rnd">
              <a:solidFill>
                <a:srgbClr val="FF9933"/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summaries1!$D$33:$D$56</c:f>
              <c:strCache>
                <c:ptCount val="24"/>
                <c:pt idx="0">
                  <c:v>Jul 2016</c:v>
                </c:pt>
                <c:pt idx="1">
                  <c:v>Aug 2016</c:v>
                </c:pt>
                <c:pt idx="2">
                  <c:v>Sep 2016</c:v>
                </c:pt>
                <c:pt idx="3">
                  <c:v>Oct 2016</c:v>
                </c:pt>
                <c:pt idx="4">
                  <c:v>Nov 2016</c:v>
                </c:pt>
                <c:pt idx="5">
                  <c:v>Dec 2016</c:v>
                </c:pt>
                <c:pt idx="6">
                  <c:v>Jan 2017</c:v>
                </c:pt>
                <c:pt idx="7">
                  <c:v>Feb 2017</c:v>
                </c:pt>
                <c:pt idx="8">
                  <c:v>Mar 2017</c:v>
                </c:pt>
                <c:pt idx="9">
                  <c:v>Apr 2017</c:v>
                </c:pt>
                <c:pt idx="10">
                  <c:v>May 2017</c:v>
                </c:pt>
                <c:pt idx="11">
                  <c:v>Jun 2017</c:v>
                </c:pt>
                <c:pt idx="12">
                  <c:v>Jul 2017</c:v>
                </c:pt>
                <c:pt idx="13">
                  <c:v>Aug 2017</c:v>
                </c:pt>
                <c:pt idx="14">
                  <c:v>Sep 2017</c:v>
                </c:pt>
                <c:pt idx="15">
                  <c:v>Oct 2017</c:v>
                </c:pt>
                <c:pt idx="16">
                  <c:v>Nov 2017</c:v>
                </c:pt>
                <c:pt idx="17">
                  <c:v>Dec 2017</c:v>
                </c:pt>
                <c:pt idx="18">
                  <c:v>Jan 2018</c:v>
                </c:pt>
                <c:pt idx="19">
                  <c:v>Feb 2018</c:v>
                </c:pt>
                <c:pt idx="20">
                  <c:v>Mar 2018</c:v>
                </c:pt>
                <c:pt idx="21">
                  <c:v>Apr 2018</c:v>
                </c:pt>
                <c:pt idx="22">
                  <c:v>May 2018</c:v>
                </c:pt>
                <c:pt idx="23">
                  <c:v>Jun 2018</c:v>
                </c:pt>
              </c:strCache>
            </c:strRef>
          </c:cat>
          <c:val>
            <c:numRef>
              <c:f>summaries1!$M$33:$M$56</c:f>
              <c:numCache>
                <c:formatCode>_(* #,##0_);_(* \(#,##0\);_(* "-"??_);_(@_)</c:formatCode>
                <c:ptCount val="24"/>
                <c:pt idx="0">
                  <c:v>163050.4</c:v>
                </c:pt>
                <c:pt idx="1">
                  <c:v>160881</c:v>
                </c:pt>
                <c:pt idx="2">
                  <c:v>170146.5</c:v>
                </c:pt>
                <c:pt idx="3">
                  <c:v>160388.6</c:v>
                </c:pt>
                <c:pt idx="4">
                  <c:v>162018</c:v>
                </c:pt>
                <c:pt idx="5">
                  <c:v>135138.20000000001</c:v>
                </c:pt>
                <c:pt idx="6">
                  <c:v>144463.75</c:v>
                </c:pt>
                <c:pt idx="7">
                  <c:v>154981.25</c:v>
                </c:pt>
                <c:pt idx="8">
                  <c:v>141838.75</c:v>
                </c:pt>
                <c:pt idx="9">
                  <c:v>156881.79999999999</c:v>
                </c:pt>
                <c:pt idx="10">
                  <c:v>159201.25</c:v>
                </c:pt>
                <c:pt idx="11">
                  <c:v>158419.75</c:v>
                </c:pt>
                <c:pt idx="12">
                  <c:v>151573</c:v>
                </c:pt>
                <c:pt idx="13">
                  <c:v>150871.25</c:v>
                </c:pt>
                <c:pt idx="14">
                  <c:v>157191.20000000001</c:v>
                </c:pt>
                <c:pt idx="15">
                  <c:v>167660.5</c:v>
                </c:pt>
                <c:pt idx="16">
                  <c:v>152451.75</c:v>
                </c:pt>
                <c:pt idx="17">
                  <c:v>133973.20000000001</c:v>
                </c:pt>
                <c:pt idx="18">
                  <c:v>134414</c:v>
                </c:pt>
                <c:pt idx="19">
                  <c:v>149902.5</c:v>
                </c:pt>
                <c:pt idx="20">
                  <c:v>153968</c:v>
                </c:pt>
                <c:pt idx="21">
                  <c:v>163327</c:v>
                </c:pt>
                <c:pt idx="22">
                  <c:v>152861.25</c:v>
                </c:pt>
                <c:pt idx="23">
                  <c:v>153863.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4BA8-46D7-952F-97B8A84B4A92}"/>
            </c:ext>
          </c:extLst>
        </c:ser>
        <c:ser>
          <c:idx val="3"/>
          <c:order val="3"/>
          <c:tx>
            <c:strRef>
              <c:f>summaries1!$N$2</c:f>
              <c:strCache>
                <c:ptCount val="1"/>
                <c:pt idx="0">
                  <c:v>Saturday Rolling Avg</c:v>
                </c:pt>
              </c:strCache>
            </c:strRef>
          </c:tx>
          <c:spPr>
            <a:ln w="28575" cap="rnd">
              <a:solidFill>
                <a:srgbClr val="FF9933"/>
              </a:solidFill>
              <a:round/>
            </a:ln>
            <a:effectLst/>
          </c:spPr>
          <c:marker>
            <c:symbol val="none"/>
          </c:marker>
          <c:cat>
            <c:strRef>
              <c:f>summaries1!$D$33:$D$56</c:f>
              <c:strCache>
                <c:ptCount val="24"/>
                <c:pt idx="0">
                  <c:v>Jul 2016</c:v>
                </c:pt>
                <c:pt idx="1">
                  <c:v>Aug 2016</c:v>
                </c:pt>
                <c:pt idx="2">
                  <c:v>Sep 2016</c:v>
                </c:pt>
                <c:pt idx="3">
                  <c:v>Oct 2016</c:v>
                </c:pt>
                <c:pt idx="4">
                  <c:v>Nov 2016</c:v>
                </c:pt>
                <c:pt idx="5">
                  <c:v>Dec 2016</c:v>
                </c:pt>
                <c:pt idx="6">
                  <c:v>Jan 2017</c:v>
                </c:pt>
                <c:pt idx="7">
                  <c:v>Feb 2017</c:v>
                </c:pt>
                <c:pt idx="8">
                  <c:v>Mar 2017</c:v>
                </c:pt>
                <c:pt idx="9">
                  <c:v>Apr 2017</c:v>
                </c:pt>
                <c:pt idx="10">
                  <c:v>May 2017</c:v>
                </c:pt>
                <c:pt idx="11">
                  <c:v>Jun 2017</c:v>
                </c:pt>
                <c:pt idx="12">
                  <c:v>Jul 2017</c:v>
                </c:pt>
                <c:pt idx="13">
                  <c:v>Aug 2017</c:v>
                </c:pt>
                <c:pt idx="14">
                  <c:v>Sep 2017</c:v>
                </c:pt>
                <c:pt idx="15">
                  <c:v>Oct 2017</c:v>
                </c:pt>
                <c:pt idx="16">
                  <c:v>Nov 2017</c:v>
                </c:pt>
                <c:pt idx="17">
                  <c:v>Dec 2017</c:v>
                </c:pt>
                <c:pt idx="18">
                  <c:v>Jan 2018</c:v>
                </c:pt>
                <c:pt idx="19">
                  <c:v>Feb 2018</c:v>
                </c:pt>
                <c:pt idx="20">
                  <c:v>Mar 2018</c:v>
                </c:pt>
                <c:pt idx="21">
                  <c:v>Apr 2018</c:v>
                </c:pt>
                <c:pt idx="22">
                  <c:v>May 2018</c:v>
                </c:pt>
                <c:pt idx="23">
                  <c:v>Jun 2018</c:v>
                </c:pt>
              </c:strCache>
            </c:strRef>
          </c:cat>
          <c:val>
            <c:numRef>
              <c:f>summaries1!$N$33:$N$56</c:f>
              <c:numCache>
                <c:formatCode>_(* #,##0_);_(* \(#,##0\);_(* "-"??_);_(@_)</c:formatCode>
                <c:ptCount val="24"/>
                <c:pt idx="0">
                  <c:v>167678.55416666661</c:v>
                </c:pt>
                <c:pt idx="1">
                  <c:v>167466.80416666661</c:v>
                </c:pt>
                <c:pt idx="2">
                  <c:v>166841.38749999992</c:v>
                </c:pt>
                <c:pt idx="3">
                  <c:v>165711.80416666661</c:v>
                </c:pt>
                <c:pt idx="4">
                  <c:v>165450.76249999998</c:v>
                </c:pt>
                <c:pt idx="5">
                  <c:v>162811.55000000002</c:v>
                </c:pt>
                <c:pt idx="6">
                  <c:v>162285.11250000008</c:v>
                </c:pt>
                <c:pt idx="7">
                  <c:v>161796.65416666665</c:v>
                </c:pt>
                <c:pt idx="8">
                  <c:v>159147.82083333327</c:v>
                </c:pt>
                <c:pt idx="9">
                  <c:v>157646.77083333334</c:v>
                </c:pt>
                <c:pt idx="10">
                  <c:v>156557</c:v>
                </c:pt>
                <c:pt idx="11">
                  <c:v>155617.4375</c:v>
                </c:pt>
                <c:pt idx="12">
                  <c:v>154660.98750000002</c:v>
                </c:pt>
                <c:pt idx="13">
                  <c:v>153826.84166666665</c:v>
                </c:pt>
                <c:pt idx="14">
                  <c:v>152747.23333333334</c:v>
                </c:pt>
                <c:pt idx="15">
                  <c:v>153353.22500000001</c:v>
                </c:pt>
                <c:pt idx="16">
                  <c:v>152556.03750000001</c:v>
                </c:pt>
                <c:pt idx="17">
                  <c:v>152458.9541666666</c:v>
                </c:pt>
                <c:pt idx="18">
                  <c:v>151621.47500000001</c:v>
                </c:pt>
                <c:pt idx="19">
                  <c:v>151198.24583333338</c:v>
                </c:pt>
                <c:pt idx="20">
                  <c:v>152209.01666666666</c:v>
                </c:pt>
                <c:pt idx="21">
                  <c:v>152746.11666666667</c:v>
                </c:pt>
                <c:pt idx="22">
                  <c:v>152217.78333333333</c:v>
                </c:pt>
                <c:pt idx="23">
                  <c:v>153887.687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4BA8-46D7-952F-97B8A84B4A92}"/>
            </c:ext>
          </c:extLst>
        </c:ser>
        <c:ser>
          <c:idx val="4"/>
          <c:order val="4"/>
          <c:tx>
            <c:strRef>
              <c:f>summaries1!$O$2</c:f>
              <c:strCache>
                <c:ptCount val="1"/>
                <c:pt idx="0">
                  <c:v>Avg. Sunday Taps</c:v>
                </c:pt>
              </c:strCache>
            </c:strRef>
          </c:tx>
          <c:spPr>
            <a:ln w="28575" cap="rnd">
              <a:solidFill>
                <a:srgbClr val="FFFFFF">
                  <a:lumMod val="50000"/>
                </a:srgbClr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summaries1!$D$33:$D$56</c:f>
              <c:strCache>
                <c:ptCount val="24"/>
                <c:pt idx="0">
                  <c:v>Jul 2016</c:v>
                </c:pt>
                <c:pt idx="1">
                  <c:v>Aug 2016</c:v>
                </c:pt>
                <c:pt idx="2">
                  <c:v>Sep 2016</c:v>
                </c:pt>
                <c:pt idx="3">
                  <c:v>Oct 2016</c:v>
                </c:pt>
                <c:pt idx="4">
                  <c:v>Nov 2016</c:v>
                </c:pt>
                <c:pt idx="5">
                  <c:v>Dec 2016</c:v>
                </c:pt>
                <c:pt idx="6">
                  <c:v>Jan 2017</c:v>
                </c:pt>
                <c:pt idx="7">
                  <c:v>Feb 2017</c:v>
                </c:pt>
                <c:pt idx="8">
                  <c:v>Mar 2017</c:v>
                </c:pt>
                <c:pt idx="9">
                  <c:v>Apr 2017</c:v>
                </c:pt>
                <c:pt idx="10">
                  <c:v>May 2017</c:v>
                </c:pt>
                <c:pt idx="11">
                  <c:v>Jun 2017</c:v>
                </c:pt>
                <c:pt idx="12">
                  <c:v>Jul 2017</c:v>
                </c:pt>
                <c:pt idx="13">
                  <c:v>Aug 2017</c:v>
                </c:pt>
                <c:pt idx="14">
                  <c:v>Sep 2017</c:v>
                </c:pt>
                <c:pt idx="15">
                  <c:v>Oct 2017</c:v>
                </c:pt>
                <c:pt idx="16">
                  <c:v>Nov 2017</c:v>
                </c:pt>
                <c:pt idx="17">
                  <c:v>Dec 2017</c:v>
                </c:pt>
                <c:pt idx="18">
                  <c:v>Jan 2018</c:v>
                </c:pt>
                <c:pt idx="19">
                  <c:v>Feb 2018</c:v>
                </c:pt>
                <c:pt idx="20">
                  <c:v>Mar 2018</c:v>
                </c:pt>
                <c:pt idx="21">
                  <c:v>Apr 2018</c:v>
                </c:pt>
                <c:pt idx="22">
                  <c:v>May 2018</c:v>
                </c:pt>
                <c:pt idx="23">
                  <c:v>Jun 2018</c:v>
                </c:pt>
              </c:strCache>
            </c:strRef>
          </c:cat>
          <c:val>
            <c:numRef>
              <c:f>summaries1!$O$33:$O$56</c:f>
              <c:numCache>
                <c:formatCode>_(* #,##0_);_(* \(#,##0\);_(* "-"??_);_(@_)</c:formatCode>
                <c:ptCount val="24"/>
                <c:pt idx="0">
                  <c:v>108218.4</c:v>
                </c:pt>
                <c:pt idx="1">
                  <c:v>109427</c:v>
                </c:pt>
                <c:pt idx="2">
                  <c:v>109074.5</c:v>
                </c:pt>
                <c:pt idx="3">
                  <c:v>102720.2</c:v>
                </c:pt>
                <c:pt idx="4">
                  <c:v>102546.75</c:v>
                </c:pt>
                <c:pt idx="5">
                  <c:v>87925</c:v>
                </c:pt>
                <c:pt idx="6">
                  <c:v>88767</c:v>
                </c:pt>
                <c:pt idx="7">
                  <c:v>97245.25</c:v>
                </c:pt>
                <c:pt idx="8">
                  <c:v>92734.5</c:v>
                </c:pt>
                <c:pt idx="9">
                  <c:v>107176.6</c:v>
                </c:pt>
                <c:pt idx="10">
                  <c:v>100311</c:v>
                </c:pt>
                <c:pt idx="11">
                  <c:v>106118.25</c:v>
                </c:pt>
                <c:pt idx="12">
                  <c:v>104414.6</c:v>
                </c:pt>
                <c:pt idx="13">
                  <c:v>105578</c:v>
                </c:pt>
                <c:pt idx="14">
                  <c:v>102333</c:v>
                </c:pt>
                <c:pt idx="15">
                  <c:v>105633.60000000002</c:v>
                </c:pt>
                <c:pt idx="16">
                  <c:v>100375.75</c:v>
                </c:pt>
                <c:pt idx="17">
                  <c:v>87030.6</c:v>
                </c:pt>
                <c:pt idx="18">
                  <c:v>87311</c:v>
                </c:pt>
                <c:pt idx="19">
                  <c:v>90162.25</c:v>
                </c:pt>
                <c:pt idx="20">
                  <c:v>96270</c:v>
                </c:pt>
                <c:pt idx="21">
                  <c:v>97372.2</c:v>
                </c:pt>
                <c:pt idx="22">
                  <c:v>98322.75</c:v>
                </c:pt>
                <c:pt idx="23">
                  <c:v>99635.2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4BA8-46D7-952F-97B8A84B4A92}"/>
            </c:ext>
          </c:extLst>
        </c:ser>
        <c:ser>
          <c:idx val="5"/>
          <c:order val="5"/>
          <c:tx>
            <c:strRef>
              <c:f>summaries1!$P$2</c:f>
              <c:strCache>
                <c:ptCount val="1"/>
                <c:pt idx="0">
                  <c:v>Sunday Rolling Avg</c:v>
                </c:pt>
              </c:strCache>
            </c:strRef>
          </c:tx>
          <c:spPr>
            <a:ln w="28575" cap="rnd">
              <a:solidFill>
                <a:srgbClr val="FFFFFF">
                  <a:lumMod val="50000"/>
                </a:srgbClr>
              </a:solidFill>
              <a:round/>
            </a:ln>
            <a:effectLst/>
          </c:spPr>
          <c:marker>
            <c:symbol val="none"/>
          </c:marker>
          <c:cat>
            <c:strRef>
              <c:f>summaries1!$D$33:$D$56</c:f>
              <c:strCache>
                <c:ptCount val="24"/>
                <c:pt idx="0">
                  <c:v>Jul 2016</c:v>
                </c:pt>
                <c:pt idx="1">
                  <c:v>Aug 2016</c:v>
                </c:pt>
                <c:pt idx="2">
                  <c:v>Sep 2016</c:v>
                </c:pt>
                <c:pt idx="3">
                  <c:v>Oct 2016</c:v>
                </c:pt>
                <c:pt idx="4">
                  <c:v>Nov 2016</c:v>
                </c:pt>
                <c:pt idx="5">
                  <c:v>Dec 2016</c:v>
                </c:pt>
                <c:pt idx="6">
                  <c:v>Jan 2017</c:v>
                </c:pt>
                <c:pt idx="7">
                  <c:v>Feb 2017</c:v>
                </c:pt>
                <c:pt idx="8">
                  <c:v>Mar 2017</c:v>
                </c:pt>
                <c:pt idx="9">
                  <c:v>Apr 2017</c:v>
                </c:pt>
                <c:pt idx="10">
                  <c:v>May 2017</c:v>
                </c:pt>
                <c:pt idx="11">
                  <c:v>Jun 2017</c:v>
                </c:pt>
                <c:pt idx="12">
                  <c:v>Jul 2017</c:v>
                </c:pt>
                <c:pt idx="13">
                  <c:v>Aug 2017</c:v>
                </c:pt>
                <c:pt idx="14">
                  <c:v>Sep 2017</c:v>
                </c:pt>
                <c:pt idx="15">
                  <c:v>Oct 2017</c:v>
                </c:pt>
                <c:pt idx="16">
                  <c:v>Nov 2017</c:v>
                </c:pt>
                <c:pt idx="17">
                  <c:v>Dec 2017</c:v>
                </c:pt>
                <c:pt idx="18">
                  <c:v>Jan 2018</c:v>
                </c:pt>
                <c:pt idx="19">
                  <c:v>Feb 2018</c:v>
                </c:pt>
                <c:pt idx="20">
                  <c:v>Mar 2018</c:v>
                </c:pt>
                <c:pt idx="21">
                  <c:v>Apr 2018</c:v>
                </c:pt>
                <c:pt idx="22">
                  <c:v>May 2018</c:v>
                </c:pt>
                <c:pt idx="23">
                  <c:v>Jun 2018</c:v>
                </c:pt>
              </c:strCache>
            </c:strRef>
          </c:cat>
          <c:val>
            <c:numRef>
              <c:f>summaries1!$P$33:$P$56</c:f>
              <c:numCache>
                <c:formatCode>_(* #,##0_);_(* \(#,##0\);_(* "-"??_);_(@_)</c:formatCode>
                <c:ptCount val="24"/>
                <c:pt idx="0">
                  <c:v>106770.17083333335</c:v>
                </c:pt>
                <c:pt idx="1">
                  <c:v>106814.72083333333</c:v>
                </c:pt>
                <c:pt idx="2">
                  <c:v>106432.84583333333</c:v>
                </c:pt>
                <c:pt idx="3">
                  <c:v>105697.82083333332</c:v>
                </c:pt>
                <c:pt idx="4">
                  <c:v>105348.46666666663</c:v>
                </c:pt>
                <c:pt idx="5">
                  <c:v>103992.1541666667</c:v>
                </c:pt>
                <c:pt idx="6">
                  <c:v>103302.83749999998</c:v>
                </c:pt>
                <c:pt idx="7">
                  <c:v>103107.56666666664</c:v>
                </c:pt>
                <c:pt idx="8">
                  <c:v>102166.33749999998</c:v>
                </c:pt>
                <c:pt idx="9">
                  <c:v>101792.32500000003</c:v>
                </c:pt>
                <c:pt idx="10">
                  <c:v>101150.30833333333</c:v>
                </c:pt>
                <c:pt idx="11">
                  <c:v>101022.03750000001</c:v>
                </c:pt>
                <c:pt idx="12">
                  <c:v>100705.05416666665</c:v>
                </c:pt>
                <c:pt idx="13">
                  <c:v>100384.30416666665</c:v>
                </c:pt>
                <c:pt idx="14">
                  <c:v>99822.512499999968</c:v>
                </c:pt>
                <c:pt idx="15">
                  <c:v>100065.29583333334</c:v>
                </c:pt>
                <c:pt idx="16">
                  <c:v>99884.379166666695</c:v>
                </c:pt>
                <c:pt idx="17">
                  <c:v>99809.845833333311</c:v>
                </c:pt>
                <c:pt idx="18">
                  <c:v>99688.512499999968</c:v>
                </c:pt>
                <c:pt idx="19">
                  <c:v>99098.262499999968</c:v>
                </c:pt>
                <c:pt idx="20">
                  <c:v>99392.887499999997</c:v>
                </c:pt>
                <c:pt idx="21">
                  <c:v>98575.854166666657</c:v>
                </c:pt>
                <c:pt idx="22">
                  <c:v>98410.166666666672</c:v>
                </c:pt>
                <c:pt idx="23">
                  <c:v>98660.79583333330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4BA8-46D7-952F-97B8A84B4A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0758400"/>
        <c:axId val="180759936"/>
      </c:lineChart>
      <c:catAx>
        <c:axId val="1807584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0759936"/>
        <c:crosses val="autoZero"/>
        <c:auto val="1"/>
        <c:lblAlgn val="ctr"/>
        <c:lblOffset val="100"/>
        <c:noMultiLvlLbl val="0"/>
      </c:catAx>
      <c:valAx>
        <c:axId val="1807599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07584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782089-6BC6-4235-B712-F8742B9D4234}" type="datetimeFigureOut">
              <a:rPr lang="en-US" smtClean="0"/>
              <a:pPr/>
              <a:t>8/13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375"/>
            <a:ext cx="3043238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612B8F-7C36-4EC9-BD17-68C48F5CD98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75643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5082" tIns="47540" rIns="95082" bIns="4754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5" y="0"/>
            <a:ext cx="3043343" cy="465455"/>
          </a:xfrm>
          <a:prstGeom prst="rect">
            <a:avLst/>
          </a:prstGeom>
        </p:spPr>
        <p:txBody>
          <a:bodyPr vert="horz" lIns="95082" tIns="47540" rIns="95082" bIns="47540" rtlCol="0"/>
          <a:lstStyle>
            <a:lvl1pPr algn="r">
              <a:defRPr sz="1200"/>
            </a:lvl1pPr>
          </a:lstStyle>
          <a:p>
            <a:fld id="{CEB96F95-300C-4A3F-BDC6-417068EB1BB3}" type="datetimeFigureOut">
              <a:rPr lang="en-US" smtClean="0"/>
              <a:pPr/>
              <a:t>8/13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082" tIns="47540" rIns="95082" bIns="4754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6"/>
            <a:ext cx="5618480" cy="4189095"/>
          </a:xfrm>
          <a:prstGeom prst="rect">
            <a:avLst/>
          </a:prstGeom>
        </p:spPr>
        <p:txBody>
          <a:bodyPr vert="horz" lIns="95082" tIns="47540" rIns="95082" bIns="4754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2"/>
            <a:ext cx="3043343" cy="465455"/>
          </a:xfrm>
          <a:prstGeom prst="rect">
            <a:avLst/>
          </a:prstGeom>
        </p:spPr>
        <p:txBody>
          <a:bodyPr vert="horz" lIns="95082" tIns="47540" rIns="95082" bIns="4754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5" y="8842032"/>
            <a:ext cx="3043343" cy="465455"/>
          </a:xfrm>
          <a:prstGeom prst="rect">
            <a:avLst/>
          </a:prstGeom>
        </p:spPr>
        <p:txBody>
          <a:bodyPr vert="horz" lIns="95082" tIns="47540" rIns="95082" bIns="47540" rtlCol="0" anchor="b"/>
          <a:lstStyle>
            <a:lvl1pPr algn="r">
              <a:defRPr sz="1200"/>
            </a:lvl1pPr>
          </a:lstStyle>
          <a:p>
            <a:fld id="{DDE3C4EC-FA30-4BAF-8816-853426F570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26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81838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827918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29601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171524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783080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316793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351013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821611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882085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025430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47801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63927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55396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17416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30375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1320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81006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25522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60824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8/13/20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3118715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9840243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8/13/2018</a:t>
            </a:fld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3118715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8/13/2018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3118715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8/13/2018</a:t>
            </a:fld>
            <a:endParaRPr lang="en-US" dirty="0"/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3118715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TextBox 6"/>
          <p:cNvSpPr txBox="1">
            <a:spLocks noChangeArrowheads="1"/>
          </p:cNvSpPr>
          <p:nvPr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/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1280582617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/>
              <a:pPr/>
              <a:t>8/13/2018</a:t>
            </a:fld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6"/>
          <p:cNvSpPr txBox="1">
            <a:spLocks noChangeArrowheads="1"/>
          </p:cNvSpPr>
          <p:nvPr userDrawn="1"/>
        </p:nvSpPr>
        <p:spPr bwMode="auto">
          <a:xfrm>
            <a:off x="3265488" y="6302597"/>
            <a:ext cx="261302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2" r:id="rId2"/>
    <p:sldLayoutId id="2147483663" r:id="rId3"/>
    <p:sldLayoutId id="2147483673" r:id="rId4"/>
    <p:sldLayoutId id="2147483675" r:id="rId5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arterly Ridership Up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August 13, </a:t>
            </a:r>
            <a:r>
              <a:rPr lang="en-US" dirty="0"/>
              <a:t>2018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Fourth Quarter FY1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95494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BTA Back on Track Dashboard – Subway and Light Rai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Quarterly Ridership Update</a:t>
            </a:r>
          </a:p>
          <a:p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8458" y="1698625"/>
            <a:ext cx="6851547" cy="4438650"/>
          </a:xfrm>
        </p:spPr>
      </p:pic>
    </p:spTree>
    <p:extLst>
      <p:ext uri="{BB962C8B-B14F-4D97-AF65-F5344CB8AC3E}">
        <p14:creationId xmlns:p14="http://schemas.microsoft.com/office/powerpoint/2010/main" val="42630726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vy Rail </a:t>
            </a:r>
            <a:r>
              <a:rPr lang="en-US" dirty="0" smtClean="0"/>
              <a:t>Trend (Blue, Orange, and Red Lines) 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Quarterly Ridership Update</a:t>
            </a:r>
          </a:p>
        </p:txBody>
      </p:sp>
      <p:sp>
        <p:nvSpPr>
          <p:cNvPr id="8" name="Rectangle 7"/>
          <p:cNvSpPr/>
          <p:nvPr/>
        </p:nvSpPr>
        <p:spPr>
          <a:xfrm>
            <a:off x="304800" y="6038850"/>
            <a:ext cx="821646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Source: AFC data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7283669" y="1346245"/>
            <a:ext cx="2057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sz="1200" dirty="0" smtClean="0">
                <a:latin typeface="+mj-lt"/>
              </a:rPr>
              <a:t>June 18 vs. June 17 </a:t>
            </a:r>
          </a:p>
          <a:p>
            <a:pPr marL="342900" indent="-342900" algn="ctr"/>
            <a:r>
              <a:rPr lang="en-US" sz="1200" dirty="0" smtClean="0">
                <a:latin typeface="+mj-lt"/>
              </a:rPr>
              <a:t>12-month weekday  avg.: -0.5%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503829" y="3072842"/>
            <a:ext cx="16632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200" dirty="0" smtClean="0">
                <a:latin typeface="+mj-lt"/>
              </a:rPr>
              <a:t>Saturday: -2.0%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7654716" y="3968442"/>
            <a:ext cx="16632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200" dirty="0" smtClean="0">
                <a:latin typeface="+mj-lt"/>
              </a:rPr>
              <a:t>Sunday +0.2%</a:t>
            </a:r>
          </a:p>
        </p:txBody>
      </p:sp>
      <p:sp>
        <p:nvSpPr>
          <p:cNvPr id="7" name="TextBox 6"/>
          <p:cNvSpPr txBox="1"/>
          <p:nvPr/>
        </p:nvSpPr>
        <p:spPr>
          <a:xfrm rot="16200000">
            <a:off x="-1061953" y="3104933"/>
            <a:ext cx="27335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en-US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Comparable AFC taps, not total ridership 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xmlns="" id="{00000000-0008-0000-00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77781397"/>
              </p:ext>
            </p:extLst>
          </p:nvPr>
        </p:nvGraphicFramePr>
        <p:xfrm>
          <a:off x="533400" y="1295400"/>
          <a:ext cx="8229600" cy="4743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8946476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vy Rail </a:t>
            </a:r>
            <a:r>
              <a:rPr lang="en-US" dirty="0" smtClean="0"/>
              <a:t>Trend Detail FY17-FY18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Quarterly Ridership Update</a:t>
            </a:r>
          </a:p>
        </p:txBody>
      </p:sp>
      <p:sp>
        <p:nvSpPr>
          <p:cNvPr id="8" name="Rectangle 7"/>
          <p:cNvSpPr/>
          <p:nvPr/>
        </p:nvSpPr>
        <p:spPr>
          <a:xfrm>
            <a:off x="304800" y="6038850"/>
            <a:ext cx="821646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Source: AFC data</a:t>
            </a:r>
          </a:p>
        </p:txBody>
      </p:sp>
      <p:sp>
        <p:nvSpPr>
          <p:cNvPr id="7" name="TextBox 6"/>
          <p:cNvSpPr txBox="1"/>
          <p:nvPr/>
        </p:nvSpPr>
        <p:spPr>
          <a:xfrm rot="16200000">
            <a:off x="-1061953" y="3104933"/>
            <a:ext cx="27335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en-US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Comparable AFC taps, not total ridership </a:t>
            </a:r>
          </a:p>
        </p:txBody>
      </p:sp>
      <p:graphicFrame>
        <p:nvGraphicFramePr>
          <p:cNvPr id="15" name="Chart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04167767"/>
              </p:ext>
            </p:extLst>
          </p:nvPr>
        </p:nvGraphicFramePr>
        <p:xfrm>
          <a:off x="462684" y="1295400"/>
          <a:ext cx="8300316" cy="48767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7467600" y="3180037"/>
            <a:ext cx="1676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200" dirty="0" smtClean="0">
                <a:latin typeface="+mj-lt"/>
              </a:rPr>
              <a:t>Saturday: -8.0%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283669" y="1346245"/>
            <a:ext cx="2057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sz="1200" dirty="0" smtClean="0">
                <a:latin typeface="+mj-lt"/>
              </a:rPr>
              <a:t>June 18 vs. June 16 </a:t>
            </a:r>
          </a:p>
          <a:p>
            <a:pPr marL="342900" indent="-342900" algn="ctr"/>
            <a:r>
              <a:rPr lang="en-US" sz="1200" dirty="0" smtClean="0">
                <a:latin typeface="+mj-lt"/>
              </a:rPr>
              <a:t>12-month weekday  avg.: -2.9%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573936" y="4231810"/>
            <a:ext cx="1463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200" dirty="0" smtClean="0">
                <a:latin typeface="+mj-lt"/>
              </a:rPr>
              <a:t>Sunday: -5.1%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057465" y="4634337"/>
            <a:ext cx="5705536" cy="58477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en-US" sz="1600" dirty="0" smtClean="0">
                <a:latin typeface="+mj-lt"/>
              </a:rPr>
              <a:t>Note: Weekend ridership impacted by bus diversions </a:t>
            </a:r>
            <a:br>
              <a:rPr lang="en-US" sz="1600" dirty="0" smtClean="0">
                <a:latin typeface="+mj-lt"/>
              </a:rPr>
            </a:br>
            <a:r>
              <a:rPr lang="en-US" sz="1600" dirty="0" smtClean="0">
                <a:latin typeface="+mj-lt"/>
              </a:rPr>
              <a:t>for State of Good Repair projects</a:t>
            </a:r>
          </a:p>
        </p:txBody>
      </p:sp>
    </p:spTree>
    <p:extLst>
      <p:ext uri="{BB962C8B-B14F-4D97-AF65-F5344CB8AC3E}">
        <p14:creationId xmlns:p14="http://schemas.microsoft.com/office/powerpoint/2010/main" val="42304947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Quarterly Ridership Updat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8458198" cy="466344"/>
          </a:xfrm>
        </p:spPr>
        <p:txBody>
          <a:bodyPr/>
          <a:lstStyle/>
          <a:p>
            <a:r>
              <a:rPr lang="en-US" dirty="0" smtClean="0"/>
              <a:t>Green Line Only Gated Stations (eliminates other variables)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304800" y="6038850"/>
            <a:ext cx="821646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Source: AFC data</a:t>
            </a:r>
          </a:p>
        </p:txBody>
      </p:sp>
      <p:sp>
        <p:nvSpPr>
          <p:cNvPr id="9" name="TextBox 8"/>
          <p:cNvSpPr txBox="1"/>
          <p:nvPr/>
        </p:nvSpPr>
        <p:spPr>
          <a:xfrm rot="16200000">
            <a:off x="-1061953" y="3104933"/>
            <a:ext cx="27335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en-US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Comparable AFC taps, not total ridership </a:t>
            </a:r>
          </a:p>
        </p:txBody>
      </p:sp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9923578"/>
              </p:ext>
            </p:extLst>
          </p:nvPr>
        </p:nvGraphicFramePr>
        <p:xfrm>
          <a:off x="462683" y="1295400"/>
          <a:ext cx="8300317" cy="50196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7127631" y="3243432"/>
            <a:ext cx="1600200" cy="2123658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200" dirty="0" smtClean="0">
                <a:latin typeface="+mj-lt"/>
              </a:rPr>
              <a:t>Stations Included:</a:t>
            </a:r>
          </a:p>
          <a:p>
            <a:pPr marL="342900" indent="-342900" algn="r"/>
            <a:r>
              <a:rPr lang="en-US" sz="1200" dirty="0" smtClean="0">
                <a:latin typeface="+mj-lt"/>
              </a:rPr>
              <a:t>Arlington</a:t>
            </a:r>
          </a:p>
          <a:p>
            <a:pPr marL="342900" indent="-342900" algn="r"/>
            <a:r>
              <a:rPr lang="en-US" sz="1200" dirty="0" smtClean="0">
                <a:latin typeface="+mj-lt"/>
              </a:rPr>
              <a:t>Boylston</a:t>
            </a:r>
          </a:p>
          <a:p>
            <a:pPr marL="342900" indent="-342900" algn="r"/>
            <a:r>
              <a:rPr lang="en-US" sz="1200" dirty="0" smtClean="0">
                <a:latin typeface="+mj-lt"/>
              </a:rPr>
              <a:t>Copley</a:t>
            </a:r>
          </a:p>
          <a:p>
            <a:pPr marL="342900" indent="-342900" algn="r"/>
            <a:r>
              <a:rPr lang="en-US" sz="1200" dirty="0" smtClean="0">
                <a:latin typeface="+mj-lt"/>
              </a:rPr>
              <a:t>Hynes</a:t>
            </a:r>
          </a:p>
          <a:p>
            <a:pPr marL="342900" indent="-342900" algn="r"/>
            <a:r>
              <a:rPr lang="en-US" sz="1200" dirty="0" smtClean="0">
                <a:latin typeface="+mj-lt"/>
              </a:rPr>
              <a:t>Kenmore</a:t>
            </a:r>
          </a:p>
          <a:p>
            <a:pPr marL="342900" indent="-342900" algn="r"/>
            <a:r>
              <a:rPr lang="en-US" sz="1200" dirty="0" smtClean="0">
                <a:latin typeface="+mj-lt"/>
              </a:rPr>
              <a:t>Lechmere</a:t>
            </a:r>
          </a:p>
          <a:p>
            <a:pPr marL="342900" indent="-342900" algn="r"/>
            <a:r>
              <a:rPr lang="en-US" sz="1200" dirty="0" smtClean="0">
                <a:latin typeface="+mj-lt"/>
              </a:rPr>
              <a:t>Prudential</a:t>
            </a:r>
          </a:p>
          <a:p>
            <a:pPr marL="342900" indent="-342900" algn="r"/>
            <a:r>
              <a:rPr lang="en-US" sz="1200" dirty="0" smtClean="0">
                <a:latin typeface="+mj-lt"/>
              </a:rPr>
              <a:t>Riverside</a:t>
            </a:r>
          </a:p>
          <a:p>
            <a:pPr marL="342900" indent="-342900" algn="r"/>
            <a:r>
              <a:rPr lang="en-US" sz="1200" dirty="0" smtClean="0">
                <a:latin typeface="+mj-lt"/>
              </a:rPr>
              <a:t>Science Park</a:t>
            </a:r>
          </a:p>
          <a:p>
            <a:pPr marL="342900" indent="-342900" algn="r"/>
            <a:r>
              <a:rPr lang="en-US" sz="1200" dirty="0" smtClean="0">
                <a:latin typeface="+mj-lt"/>
              </a:rPr>
              <a:t>Symphony  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066800" y="3997484"/>
            <a:ext cx="3733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Change from January 2014: -13.3%</a:t>
            </a:r>
          </a:p>
        </p:txBody>
      </p:sp>
    </p:spTree>
    <p:extLst>
      <p:ext uri="{BB962C8B-B14F-4D97-AF65-F5344CB8AC3E}">
        <p14:creationId xmlns:p14="http://schemas.microsoft.com/office/powerpoint/2010/main" val="22873626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Quarterly Ridership Updat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8458198" cy="466344"/>
          </a:xfrm>
        </p:spPr>
        <p:txBody>
          <a:bodyPr/>
          <a:lstStyle/>
          <a:p>
            <a:r>
              <a:rPr lang="en-US" dirty="0" smtClean="0"/>
              <a:t>Green Line Only Gated Stations FY17-18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304800" y="6038850"/>
            <a:ext cx="821646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Source: AFC data</a:t>
            </a:r>
          </a:p>
        </p:txBody>
      </p:sp>
      <p:sp>
        <p:nvSpPr>
          <p:cNvPr id="9" name="TextBox 8"/>
          <p:cNvSpPr txBox="1"/>
          <p:nvPr/>
        </p:nvSpPr>
        <p:spPr>
          <a:xfrm rot="16200000">
            <a:off x="-1061953" y="3104933"/>
            <a:ext cx="27335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en-US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Comparable AFC taps, not total ridership </a:t>
            </a:r>
          </a:p>
        </p:txBody>
      </p:sp>
      <p:graphicFrame>
        <p:nvGraphicFramePr>
          <p:cNvPr id="12" name="Chart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3271137"/>
              </p:ext>
            </p:extLst>
          </p:nvPr>
        </p:nvGraphicFramePr>
        <p:xfrm>
          <a:off x="614362" y="1295400"/>
          <a:ext cx="7915275" cy="46434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6629400" y="2971800"/>
            <a:ext cx="2133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sz="1200" dirty="0"/>
              <a:t>June 18 vs. June 16 </a:t>
            </a:r>
          </a:p>
          <a:p>
            <a:pPr marL="342900" indent="-342900" algn="ctr"/>
            <a:r>
              <a:rPr lang="en-US" sz="1200" dirty="0"/>
              <a:t>12-month weekday  avg</a:t>
            </a:r>
            <a:r>
              <a:rPr lang="en-US" sz="1200" dirty="0" smtClean="0"/>
              <a:t>.:</a:t>
            </a:r>
            <a:r>
              <a:rPr lang="en-US" sz="1200" dirty="0" smtClean="0">
                <a:latin typeface="+mj-lt"/>
              </a:rPr>
              <a:t> -2.2%</a:t>
            </a:r>
          </a:p>
        </p:txBody>
      </p:sp>
    </p:spTree>
    <p:extLst>
      <p:ext uri="{BB962C8B-B14F-4D97-AF65-F5344CB8AC3E}">
        <p14:creationId xmlns:p14="http://schemas.microsoft.com/office/powerpoint/2010/main" val="19026990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BTA Back on Track Dashboard – Bu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Quarterly Ridership Update</a:t>
            </a:r>
          </a:p>
          <a:p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6364" y="1698625"/>
            <a:ext cx="6775735" cy="4438650"/>
          </a:xfrm>
        </p:spPr>
      </p:pic>
    </p:spTree>
    <p:extLst>
      <p:ext uri="{BB962C8B-B14F-4D97-AF65-F5344CB8AC3E}">
        <p14:creationId xmlns:p14="http://schemas.microsoft.com/office/powerpoint/2010/main" val="37931201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Chart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50460480"/>
              </p:ext>
            </p:extLst>
          </p:nvPr>
        </p:nvGraphicFramePr>
        <p:xfrm>
          <a:off x="443300" y="1295400"/>
          <a:ext cx="8395900" cy="487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Quarterly Ridership Updat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s Trend</a:t>
            </a:r>
          </a:p>
        </p:txBody>
      </p:sp>
      <p:sp>
        <p:nvSpPr>
          <p:cNvPr id="8" name="Rectangle 7"/>
          <p:cNvSpPr/>
          <p:nvPr/>
        </p:nvSpPr>
        <p:spPr>
          <a:xfrm>
            <a:off x="304800" y="6038850"/>
            <a:ext cx="821646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Source: AFC data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245569" y="1352378"/>
            <a:ext cx="19957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sz="1200" dirty="0" smtClean="0"/>
              <a:t>June </a:t>
            </a:r>
            <a:r>
              <a:rPr lang="en-US" sz="1200" dirty="0"/>
              <a:t>18 vs. </a:t>
            </a:r>
            <a:r>
              <a:rPr lang="en-US" sz="1200" dirty="0" smtClean="0"/>
              <a:t>June </a:t>
            </a:r>
            <a:r>
              <a:rPr lang="en-US" sz="1200" dirty="0"/>
              <a:t>17 </a:t>
            </a:r>
          </a:p>
          <a:p>
            <a:pPr marL="342900" indent="-342900" algn="ctr"/>
            <a:r>
              <a:rPr lang="en-US" sz="1200" dirty="0"/>
              <a:t>12-month weekday </a:t>
            </a:r>
            <a:r>
              <a:rPr lang="en-US" sz="1200" dirty="0" err="1" smtClean="0"/>
              <a:t>avg</a:t>
            </a:r>
            <a:r>
              <a:rPr lang="en-US" sz="1200" dirty="0" smtClean="0">
                <a:latin typeface="+mj-lt"/>
              </a:rPr>
              <a:t>: -2.0% </a:t>
            </a:r>
          </a:p>
          <a:p>
            <a:pPr marL="342900" indent="-342900" algn="ctr"/>
            <a:endParaRPr lang="en-US" sz="1200" dirty="0" smtClean="0">
              <a:latin typeface="+mj-lt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480738" y="3243432"/>
            <a:ext cx="16632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200" dirty="0" smtClean="0">
                <a:latin typeface="+mj-lt"/>
              </a:rPr>
              <a:t>Saturday: -1.1%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689631" y="4286295"/>
            <a:ext cx="16632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200" dirty="0" smtClean="0">
                <a:latin typeface="+mj-lt"/>
              </a:rPr>
              <a:t>Sunday -2.3% </a:t>
            </a:r>
          </a:p>
          <a:p>
            <a:pPr marL="342900" indent="-342900"/>
            <a:endParaRPr lang="en-US" sz="1200" dirty="0" smtClean="0">
              <a:latin typeface="+mj-lt"/>
            </a:endParaRPr>
          </a:p>
        </p:txBody>
      </p:sp>
      <p:sp>
        <p:nvSpPr>
          <p:cNvPr id="9" name="TextBox 8"/>
          <p:cNvSpPr txBox="1"/>
          <p:nvPr/>
        </p:nvSpPr>
        <p:spPr>
          <a:xfrm rot="16200000">
            <a:off x="-1061953" y="3104933"/>
            <a:ext cx="27335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en-US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Comparable AFC taps, not total ridership </a:t>
            </a:r>
          </a:p>
        </p:txBody>
      </p:sp>
    </p:spTree>
    <p:extLst>
      <p:ext uri="{BB962C8B-B14F-4D97-AF65-F5344CB8AC3E}">
        <p14:creationId xmlns:p14="http://schemas.microsoft.com/office/powerpoint/2010/main" val="271080599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Quarterly Ridership Updat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s </a:t>
            </a:r>
            <a:r>
              <a:rPr lang="en-US" dirty="0" smtClean="0"/>
              <a:t>Trend Detail FY17-FY18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304800" y="6038850"/>
            <a:ext cx="821646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Source: AFC data</a:t>
            </a:r>
          </a:p>
        </p:txBody>
      </p:sp>
      <p:sp>
        <p:nvSpPr>
          <p:cNvPr id="9" name="TextBox 8"/>
          <p:cNvSpPr txBox="1"/>
          <p:nvPr/>
        </p:nvSpPr>
        <p:spPr>
          <a:xfrm rot="16200000">
            <a:off x="-1061953" y="3104933"/>
            <a:ext cx="27335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en-US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Comparable AFC taps, not total ridership </a:t>
            </a:r>
          </a:p>
        </p:txBody>
      </p:sp>
      <p:graphicFrame>
        <p:nvGraphicFramePr>
          <p:cNvPr id="20" name="Chart 1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59482577"/>
              </p:ext>
            </p:extLst>
          </p:nvPr>
        </p:nvGraphicFramePr>
        <p:xfrm>
          <a:off x="443300" y="1295399"/>
          <a:ext cx="8243500" cy="47434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7467600" y="3472740"/>
            <a:ext cx="1676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200" dirty="0" smtClean="0">
                <a:latin typeface="+mj-lt"/>
              </a:rPr>
              <a:t>Saturday: -9.8%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056715" y="1686175"/>
            <a:ext cx="2057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sz="1200" dirty="0" smtClean="0">
                <a:latin typeface="+mj-lt"/>
              </a:rPr>
              <a:t>June 18 vs. June 16 </a:t>
            </a:r>
          </a:p>
          <a:p>
            <a:pPr marL="342900" indent="-342900" algn="ctr"/>
            <a:r>
              <a:rPr lang="en-US" sz="1200" dirty="0" smtClean="0">
                <a:latin typeface="+mj-lt"/>
              </a:rPr>
              <a:t>12-month weekday  avg.: -5.3%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573936" y="4370030"/>
            <a:ext cx="1463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200" dirty="0" smtClean="0">
                <a:latin typeface="+mj-lt"/>
              </a:rPr>
              <a:t>Sunday: -7.6%</a:t>
            </a:r>
          </a:p>
        </p:txBody>
      </p:sp>
    </p:spTree>
    <p:extLst>
      <p:ext uri="{BB962C8B-B14F-4D97-AF65-F5344CB8AC3E}">
        <p14:creationId xmlns:p14="http://schemas.microsoft.com/office/powerpoint/2010/main" val="391865896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 </a:t>
            </a:r>
            <a:r>
              <a:rPr lang="en-US" dirty="0"/>
              <a:t>I</a:t>
            </a:r>
            <a:r>
              <a:rPr lang="en-US" dirty="0" smtClean="0"/>
              <a:t>mprovement </a:t>
            </a:r>
            <a:r>
              <a:rPr lang="en-US" dirty="0"/>
              <a:t>P</a:t>
            </a:r>
            <a:r>
              <a:rPr lang="en-US" dirty="0" smtClean="0"/>
              <a:t>roject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Quarterly Ridership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609600" y="1447800"/>
            <a:ext cx="8153400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en-US" b="1" dirty="0" smtClean="0"/>
              <a:t>Green Line</a:t>
            </a:r>
            <a:endParaRPr lang="en-US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New Type 9 Green Line cars will have Automatic People Counters (APCs) enabling better data collection for surface stations</a:t>
            </a:r>
          </a:p>
          <a:p>
            <a:endParaRPr lang="en-US" dirty="0" smtClean="0"/>
          </a:p>
          <a:p>
            <a:r>
              <a:rPr lang="en-US" b="1" dirty="0" smtClean="0"/>
              <a:t>Commuter Rai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CTPS station count to be completed by end of 2018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APCs being installed on all coach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/>
          </a:p>
          <a:p>
            <a:r>
              <a:rPr lang="en-US" b="1" dirty="0" smtClean="0"/>
              <a:t>More Data on the Dashboard</a:t>
            </a:r>
          </a:p>
          <a:p>
            <a:r>
              <a:rPr lang="en-US" dirty="0" smtClean="0"/>
              <a:t>This Fall we will be updating </a:t>
            </a:r>
            <a:r>
              <a:rPr lang="en-US" dirty="0" err="1" smtClean="0"/>
              <a:t>mbtabackontrack</a:t>
            </a:r>
            <a:r>
              <a:rPr lang="en-US" dirty="0" smtClean="0"/>
              <a:t> to including data downloads for:</a:t>
            </a:r>
            <a:endParaRPr lang="en-US" dirty="0"/>
          </a:p>
          <a:p>
            <a:pPr marL="685800" lvl="1" indent="-285750">
              <a:buFont typeface="Arial" panose="020B0604020202020204" pitchFamily="34" charset="0"/>
              <a:buChar char="•"/>
            </a:pPr>
            <a:r>
              <a:rPr lang="en-US" dirty="0"/>
              <a:t>Station entries at gated stations, updated </a:t>
            </a:r>
            <a:r>
              <a:rPr lang="en-US" dirty="0" smtClean="0"/>
              <a:t>monthly</a:t>
            </a:r>
          </a:p>
          <a:p>
            <a:pPr marL="68580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Bus </a:t>
            </a:r>
            <a:r>
              <a:rPr lang="en-US" dirty="0" err="1"/>
              <a:t>boardings</a:t>
            </a:r>
            <a:r>
              <a:rPr lang="en-US" dirty="0"/>
              <a:t>, </a:t>
            </a:r>
            <a:r>
              <a:rPr lang="en-US" dirty="0" err="1"/>
              <a:t>alightings</a:t>
            </a:r>
            <a:r>
              <a:rPr lang="en-US" dirty="0"/>
              <a:t> and load from the most recent APC composite day, updated </a:t>
            </a:r>
            <a:r>
              <a:rPr lang="en-US" dirty="0" smtClean="0"/>
              <a:t>annually</a:t>
            </a:r>
            <a:endParaRPr lang="en-US" dirty="0"/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9486379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/>
          <p:cNvPicPr>
            <a:picLocks noGrp="1" noChangeAspect="1"/>
          </p:cNvPicPr>
          <p:nvPr>
            <p:ph sz="quarter" idx="14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0390" y="1234340"/>
            <a:ext cx="5014060" cy="5014060"/>
          </a:xfr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2685" y="829056"/>
            <a:ext cx="8376515" cy="466344"/>
          </a:xfrm>
        </p:spPr>
        <p:txBody>
          <a:bodyPr/>
          <a:lstStyle/>
          <a:p>
            <a:r>
              <a:rPr lang="en-US" dirty="0" smtClean="0"/>
              <a:t>Investigating Ridership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Quarterly Ridership Updat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33400" y="1447800"/>
            <a:ext cx="350520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Focus </a:t>
            </a:r>
            <a:r>
              <a:rPr lang="en-US" dirty="0"/>
              <a:t>on bus ridership changes from 2013 to </a:t>
            </a:r>
            <a:r>
              <a:rPr lang="en-US" dirty="0" smtClean="0"/>
              <a:t>2017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Regression models at the route level and census tract lev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Examining impact on peak and off-peak average weekday ridershi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Using service and passenger characteristics variables</a:t>
            </a:r>
          </a:p>
        </p:txBody>
      </p:sp>
    </p:spTree>
    <p:extLst>
      <p:ext uri="{BB962C8B-B14F-4D97-AF65-F5344CB8AC3E}">
        <p14:creationId xmlns:p14="http://schemas.microsoft.com/office/powerpoint/2010/main" val="4358298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571500" lvl="1" indent="-171450"/>
            <a:endParaRPr lang="en-US" sz="18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8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2685" y="829056"/>
            <a:ext cx="8452715" cy="466344"/>
          </a:xfrm>
        </p:spPr>
        <p:txBody>
          <a:bodyPr/>
          <a:lstStyle/>
          <a:p>
            <a:r>
              <a:rPr lang="en-US" dirty="0" smtClean="0"/>
              <a:t>Overview: Ridership in 2017 continued to decline but rate of decline has slowe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Quarterly Ridership Updat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62684" y="1524000"/>
            <a:ext cx="8140599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MBTA ridership changes are in line with national trend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dirty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MBTA bus service is still relatively productive compared to peer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dirty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MBTA rate of ridership decline has slowed over the past yea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MBTA is</a:t>
            </a:r>
            <a:r>
              <a:rPr lang="en-US" dirty="0" smtClean="0">
                <a:solidFill>
                  <a:srgbClr val="FF0000"/>
                </a:solidFill>
                <a:latin typeface="+mj-lt"/>
              </a:rPr>
              <a:t> </a:t>
            </a:r>
            <a:r>
              <a:rPr lang="en-US" dirty="0" smtClean="0">
                <a:latin typeface="+mj-lt"/>
              </a:rPr>
              <a:t>undertaking a series of efforts to improve ridership data and release additional data to the public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MBTA continues to analyze ridership trends to understand causes and identify best methods to address declin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52265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571500" lvl="1" indent="-171450"/>
            <a:endParaRPr lang="en-US" sz="18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8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2685" y="829056"/>
            <a:ext cx="8452715" cy="466344"/>
          </a:xfrm>
        </p:spPr>
        <p:txBody>
          <a:bodyPr/>
          <a:lstStyle/>
          <a:p>
            <a:r>
              <a:rPr lang="en-US" dirty="0" smtClean="0"/>
              <a:t>Overview: National Transit Ridership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Quarterly Ridership Updat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5911" y="1371600"/>
            <a:ext cx="6301612" cy="4841119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6858001" y="1524000"/>
            <a:ext cx="19604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200" dirty="0" smtClean="0"/>
              <a:t>Unlinked Passenger Trips per year</a:t>
            </a:r>
          </a:p>
          <a:p>
            <a:pPr marL="342900" indent="-342900"/>
            <a:r>
              <a:rPr lang="en-US" sz="1200" dirty="0" smtClean="0"/>
              <a:t>Source: APTA and the NTD</a:t>
            </a:r>
          </a:p>
        </p:txBody>
      </p:sp>
    </p:spTree>
    <p:extLst>
      <p:ext uri="{BB962C8B-B14F-4D97-AF65-F5344CB8AC3E}">
        <p14:creationId xmlns:p14="http://schemas.microsoft.com/office/powerpoint/2010/main" val="33951325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2685" y="829056"/>
            <a:ext cx="8300315" cy="466344"/>
          </a:xfrm>
        </p:spPr>
        <p:txBody>
          <a:bodyPr/>
          <a:lstStyle/>
          <a:p>
            <a:r>
              <a:rPr lang="en-US" dirty="0" smtClean="0"/>
              <a:t>National Trends for Unlinked Passenger Trips- Peer Agencie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Quarterly Ridership Update</a:t>
            </a:r>
          </a:p>
        </p:txBody>
      </p:sp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55779394"/>
              </p:ext>
            </p:extLst>
          </p:nvPr>
        </p:nvGraphicFramePr>
        <p:xfrm>
          <a:off x="462684" y="1295401"/>
          <a:ext cx="7766916" cy="47243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462684" y="5943600"/>
            <a:ext cx="715731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100" dirty="0" smtClean="0"/>
              <a:t>Source: NTD monthly data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153400" y="3632114"/>
            <a:ext cx="609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Boston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153400" y="2600326"/>
            <a:ext cx="609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Chicago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8153400" y="2830897"/>
            <a:ext cx="12192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Los Angele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153400" y="3256605"/>
            <a:ext cx="609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SF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153400" y="3873587"/>
            <a:ext cx="609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Philly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153400" y="4191858"/>
            <a:ext cx="609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Seattl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8153400" y="4672142"/>
            <a:ext cx="609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Portland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153400" y="3506057"/>
            <a:ext cx="609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DC</a:t>
            </a:r>
          </a:p>
        </p:txBody>
      </p:sp>
    </p:spTree>
    <p:extLst>
      <p:ext uri="{BB962C8B-B14F-4D97-AF65-F5344CB8AC3E}">
        <p14:creationId xmlns:p14="http://schemas.microsoft.com/office/powerpoint/2010/main" val="12491621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ational Trends: Short and Long Term 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Quarterly Ridership Update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406400" y="5619429"/>
            <a:ext cx="3047999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100" dirty="0" smtClean="0"/>
              <a:t>Source: NTD monthly data, for comparison Boston Urbanized Area includes 5 RTAs and the MBTA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381104"/>
              </p:ext>
            </p:extLst>
          </p:nvPr>
        </p:nvGraphicFramePr>
        <p:xfrm>
          <a:off x="3886200" y="1421971"/>
          <a:ext cx="4876800" cy="4783239"/>
        </p:xfrm>
        <a:graphic>
          <a:graphicData uri="http://schemas.openxmlformats.org/drawingml/2006/table">
            <a:tbl>
              <a:tblPr firstRow="1">
                <a:tableStyleId>{8EC20E35-A176-4012-BC5E-935CFFF8708E}</a:tableStyleId>
              </a:tblPr>
              <a:tblGrid>
                <a:gridCol w="1524000">
                  <a:extLst>
                    <a:ext uri="{9D8B030D-6E8A-4147-A177-3AD203B41FA5}">
                      <a16:colId xmlns:a16="http://schemas.microsoft.com/office/drawing/2014/main" xmlns="" val="3292449641"/>
                    </a:ext>
                  </a:extLst>
                </a:gridCol>
                <a:gridCol w="1066800">
                  <a:extLst>
                    <a:ext uri="{9D8B030D-6E8A-4147-A177-3AD203B41FA5}">
                      <a16:colId xmlns:a16="http://schemas.microsoft.com/office/drawing/2014/main" xmlns="" val="2033857312"/>
                    </a:ext>
                  </a:extLst>
                </a:gridCol>
                <a:gridCol w="1143000">
                  <a:extLst>
                    <a:ext uri="{9D8B030D-6E8A-4147-A177-3AD203B41FA5}">
                      <a16:colId xmlns:a16="http://schemas.microsoft.com/office/drawing/2014/main" xmlns="" val="1564887932"/>
                    </a:ext>
                  </a:extLst>
                </a:gridCol>
                <a:gridCol w="1143000">
                  <a:extLst>
                    <a:ext uri="{9D8B030D-6E8A-4147-A177-3AD203B41FA5}">
                      <a16:colId xmlns:a16="http://schemas.microsoft.com/office/drawing/2014/main" xmlns="" val="3608987365"/>
                    </a:ext>
                  </a:extLst>
                </a:gridCol>
              </a:tblGrid>
              <a:tr h="5237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 smtClean="0">
                          <a:effectLst/>
                        </a:rPr>
                        <a:t>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Change from CY2007-17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Change from CY15-17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Change from CY16-17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1271901343"/>
                  </a:ext>
                </a:extLst>
              </a:tr>
              <a:tr h="1810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Bosto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1.1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-6.8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-5.5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84544570"/>
                  </a:ext>
                </a:extLst>
              </a:tr>
              <a:tr h="1810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Boston - Bus only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9.2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-9.0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-3.4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46820201"/>
                  </a:ext>
                </a:extLst>
              </a:tr>
              <a:tr h="181073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1031522149"/>
                  </a:ext>
                </a:extLst>
              </a:tr>
              <a:tr h="1810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Chicago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-5.0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-6.4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-3.2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51072511"/>
                  </a:ext>
                </a:extLst>
              </a:tr>
              <a:tr h="1810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Chicago - Bu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-19.2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-8.6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-3.0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98424103"/>
                  </a:ext>
                </a:extLst>
              </a:tr>
              <a:tr h="181073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4051461176"/>
                  </a:ext>
                </a:extLst>
              </a:tr>
              <a:tr h="1810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Los Angele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-19.6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-10.9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-4.7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58654398"/>
                  </a:ext>
                </a:extLst>
              </a:tr>
              <a:tr h="1810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Los Angeles - Bu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-28.4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-14.3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-5.8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05438930"/>
                  </a:ext>
                </a:extLst>
              </a:tr>
              <a:tr h="181073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212202000"/>
                  </a:ext>
                </a:extLst>
              </a:tr>
              <a:tr h="1810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Philadelphia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-3.3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-11.4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-7.7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56818289"/>
                  </a:ext>
                </a:extLst>
              </a:tr>
              <a:tr h="1810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Philadelphia - Bu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-5.2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-14.6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-10.5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82218623"/>
                  </a:ext>
                </a:extLst>
              </a:tr>
              <a:tr h="181073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2891652662"/>
                  </a:ext>
                </a:extLst>
              </a:tr>
              <a:tr h="1810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Portland, OR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6.6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-2.1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-1.7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96200824"/>
                  </a:ext>
                </a:extLst>
              </a:tr>
              <a:tr h="1810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Portland, OR - Bu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-8.5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-5.9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-0.9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6482984"/>
                  </a:ext>
                </a:extLst>
              </a:tr>
              <a:tr h="197424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2944767302"/>
                  </a:ext>
                </a:extLst>
              </a:tr>
              <a:tr h="19742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San Francisco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5.5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-1.9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-2.1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80298939"/>
                  </a:ext>
                </a:extLst>
              </a:tr>
              <a:tr h="1810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an Francisco - Bu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-7.1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-1.7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-1.9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9399520"/>
                  </a:ext>
                </a:extLst>
              </a:tr>
              <a:tr h="197424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168781450"/>
                  </a:ext>
                </a:extLst>
              </a:tr>
              <a:tr h="19742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Seattl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4.0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6.8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2.0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59351051"/>
                  </a:ext>
                </a:extLst>
              </a:tr>
              <a:tr h="1810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eattle - Bu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9.7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0.5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0.5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40718370"/>
                  </a:ext>
                </a:extLst>
              </a:tr>
              <a:tr h="190326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2034612101"/>
                  </a:ext>
                </a:extLst>
              </a:tr>
              <a:tr h="19032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Washington, DC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-14.5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-10.3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-4.6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4943162"/>
                  </a:ext>
                </a:extLst>
              </a:tr>
              <a:tr h="1919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 smtClean="0">
                          <a:effectLst/>
                        </a:rPr>
                        <a:t>Washington</a:t>
                      </a:r>
                      <a:r>
                        <a:rPr lang="en-US" sz="1100" u="none" strike="noStrike" baseline="0" dirty="0" smtClean="0">
                          <a:effectLst/>
                        </a:rPr>
                        <a:t> </a:t>
                      </a:r>
                      <a:r>
                        <a:rPr lang="en-US" sz="1100" u="none" strike="noStrike" dirty="0" smtClean="0">
                          <a:effectLst/>
                        </a:rPr>
                        <a:t>- </a:t>
                      </a:r>
                      <a:r>
                        <a:rPr lang="en-US" sz="1100" u="none" strike="noStrike" dirty="0">
                          <a:effectLst/>
                        </a:rPr>
                        <a:t>Bu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-10.1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-9.9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-7.2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09004918"/>
                  </a:ext>
                </a:extLst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381000" y="1514856"/>
            <a:ext cx="2966316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MBTA ridership is still above 2007 leve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MBTA in the middle of peer agencies in terms of short-term chang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Agency rates of change depend on when ridership peaked and service levels changes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892180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ational Trends per Service Operated – Bus only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Quarterly Ridership Update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462684" y="5943600"/>
            <a:ext cx="715731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100" dirty="0" smtClean="0"/>
              <a:t>Source: NTD monthly data</a:t>
            </a:r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22472156"/>
              </p:ext>
            </p:extLst>
          </p:nvPr>
        </p:nvGraphicFramePr>
        <p:xfrm>
          <a:off x="462684" y="1219200"/>
          <a:ext cx="7995516" cy="480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Box 1"/>
          <p:cNvSpPr txBox="1"/>
          <p:nvPr/>
        </p:nvSpPr>
        <p:spPr>
          <a:xfrm>
            <a:off x="8237564" y="2895600"/>
            <a:ext cx="67783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342900" indent="-342900"/>
            <a:r>
              <a:rPr lang="en-US" sz="1100" b="1" dirty="0" smtClean="0">
                <a:latin typeface="+mj-lt"/>
              </a:rPr>
              <a:t>MBTA</a:t>
            </a:r>
          </a:p>
        </p:txBody>
      </p:sp>
    </p:spTree>
    <p:extLst>
      <p:ext uri="{BB962C8B-B14F-4D97-AF65-F5344CB8AC3E}">
        <p14:creationId xmlns:p14="http://schemas.microsoft.com/office/powerpoint/2010/main" val="28664598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/>
          <p:cNvPicPr>
            <a:picLocks noGrp="1" noChangeAspect="1"/>
          </p:cNvPicPr>
          <p:nvPr>
            <p:ph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8127" y="1698625"/>
            <a:ext cx="6792208" cy="4438650"/>
          </a:xfr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BTA Back on Track Dashboard – All modes 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Quarterly Ridership Updat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79827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BTA Back on Track Dashboard – Commuter Rai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Quarterly Ridership Update</a:t>
            </a:r>
          </a:p>
          <a:p>
            <a:endParaRPr lang="en-US" dirty="0"/>
          </a:p>
        </p:txBody>
      </p:sp>
      <p:pic>
        <p:nvPicPr>
          <p:cNvPr id="8" name="Content Placeholder 7"/>
          <p:cNvPicPr>
            <a:picLocks noGrp="1" noChangeAspect="1"/>
          </p:cNvPicPr>
          <p:nvPr>
            <p:ph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068" y="1514856"/>
            <a:ext cx="6992326" cy="4598913"/>
          </a:xfrm>
        </p:spPr>
      </p:pic>
    </p:spTree>
    <p:extLst>
      <p:ext uri="{BB962C8B-B14F-4D97-AF65-F5344CB8AC3E}">
        <p14:creationId xmlns:p14="http://schemas.microsoft.com/office/powerpoint/2010/main" val="8513710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uter Rail </a:t>
            </a:r>
            <a:r>
              <a:rPr lang="en-US" dirty="0" smtClean="0"/>
              <a:t>Trend (Zoomed to Show Detail)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Quarterly Ridership Update</a:t>
            </a:r>
          </a:p>
        </p:txBody>
      </p:sp>
      <p:sp>
        <p:nvSpPr>
          <p:cNvPr id="6" name="Rectangle 5"/>
          <p:cNvSpPr/>
          <p:nvPr/>
        </p:nvSpPr>
        <p:spPr>
          <a:xfrm>
            <a:off x="304800" y="5947531"/>
            <a:ext cx="821646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Source: NTD for FY12-14, conductor counts after July 2014</a:t>
            </a:r>
          </a:p>
        </p:txBody>
      </p:sp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26692945"/>
              </p:ext>
            </p:extLst>
          </p:nvPr>
        </p:nvGraphicFramePr>
        <p:xfrm>
          <a:off x="381000" y="1316831"/>
          <a:ext cx="8305800" cy="4630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2936528" y="4114800"/>
            <a:ext cx="5584734" cy="584775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en-US" sz="1600" dirty="0" smtClean="0">
                <a:latin typeface="+mj-lt"/>
              </a:rPr>
              <a:t>Note: Commuter rail data based on manual counts, </a:t>
            </a:r>
            <a:br>
              <a:rPr lang="en-US" sz="1600" dirty="0" smtClean="0">
                <a:latin typeface="+mj-lt"/>
              </a:rPr>
            </a:br>
            <a:r>
              <a:rPr lang="en-US" sz="1600" dirty="0" smtClean="0">
                <a:latin typeface="+mj-lt"/>
              </a:rPr>
              <a:t>multiple efforts underway to improve data collection</a:t>
            </a:r>
          </a:p>
        </p:txBody>
      </p:sp>
    </p:spTree>
    <p:extLst>
      <p:ext uri="{BB962C8B-B14F-4D97-AF65-F5344CB8AC3E}">
        <p14:creationId xmlns:p14="http://schemas.microsoft.com/office/powerpoint/2010/main" val="6863979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heme/theme1.xml><?xml version="1.0" encoding="utf-8"?>
<a:theme xmlns:a="http://schemas.openxmlformats.org/drawingml/2006/main" name="MBTA Black Line - Blue Title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3" id="{46C860BB-CEC2-4323-AF68-6C413613BB7E}" vid="{6C6AA7CE-4E8A-4B1B-B4AB-6716735CB65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F120D1B9627874F919FA68D292E433D" ma:contentTypeVersion="2" ma:contentTypeDescription="Create a new document." ma:contentTypeScope="" ma:versionID="55033a35f013b8e54221fb280d03b848">
  <xsd:schema xmlns:xsd="http://www.w3.org/2001/XMLSchema" xmlns:xs="http://www.w3.org/2001/XMLSchema" xmlns:p="http://schemas.microsoft.com/office/2006/metadata/properties" xmlns:ns2="8b5420c0-7c9f-48e9-b5bf-2b405388e378" targetNamespace="http://schemas.microsoft.com/office/2006/metadata/properties" ma:root="true" ma:fieldsID="703cd91ecccf0f34ef752d18b3622996" ns2:_="">
    <xsd:import namespace="8b5420c0-7c9f-48e9-b5bf-2b405388e37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5420c0-7c9f-48e9-b5bf-2b405388e37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1DFA26F-00F3-427F-916D-6C3DBAD5B51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AFC43AB-13B3-4369-BFE2-E78CF690B55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b5420c0-7c9f-48e9-b5bf-2b405388e37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CA1442F-66BA-45E8-89C5-8F6071894890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8b5420c0-7c9f-48e9-b5bf-2b405388e378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BTA template</Template>
  <TotalTime>5338</TotalTime>
  <Words>963</Words>
  <Application>Microsoft Office PowerPoint</Application>
  <PresentationFormat>On-screen Show (4:3)</PresentationFormat>
  <Paragraphs>230</Paragraphs>
  <Slides>19</Slides>
  <Notes>19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3" baseType="lpstr">
      <vt:lpstr>Arial</vt:lpstr>
      <vt:lpstr>Calibri</vt:lpstr>
      <vt:lpstr>Verdana</vt:lpstr>
      <vt:lpstr>MBTA Black Line - Blue Title Template</vt:lpstr>
      <vt:lpstr>Quarterly Ridership Update</vt:lpstr>
      <vt:lpstr>Overview: Ridership in 2017 continued to decline but rate of decline has slowed</vt:lpstr>
      <vt:lpstr>Overview: National Transit Ridership</vt:lpstr>
      <vt:lpstr>National Trends for Unlinked Passenger Trips- Peer Agencies</vt:lpstr>
      <vt:lpstr>National Trends: Short and Long Term </vt:lpstr>
      <vt:lpstr>National Trends per Service Operated – Bus only</vt:lpstr>
      <vt:lpstr>MBTA Back on Track Dashboard – All modes </vt:lpstr>
      <vt:lpstr>MBTA Back on Track Dashboard – Commuter Rail</vt:lpstr>
      <vt:lpstr>Commuter Rail Trend (Zoomed to Show Detail)</vt:lpstr>
      <vt:lpstr>MBTA Back on Track Dashboard – Subway and Light Rail</vt:lpstr>
      <vt:lpstr>Heavy Rail Trend (Blue, Orange, and Red Lines) </vt:lpstr>
      <vt:lpstr>Heavy Rail Trend Detail FY17-FY18</vt:lpstr>
      <vt:lpstr>Green Line Only Gated Stations (eliminates other variables)</vt:lpstr>
      <vt:lpstr>Green Line Only Gated Stations FY17-18</vt:lpstr>
      <vt:lpstr>MBTA Back on Track Dashboard – Bus</vt:lpstr>
      <vt:lpstr>Bus Trend</vt:lpstr>
      <vt:lpstr>Bus Trend Detail FY17-FY18</vt:lpstr>
      <vt:lpstr>Data Improvement Projects</vt:lpstr>
      <vt:lpstr>Investigating Ridership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shin, Samuel</dc:creator>
  <cp:lastModifiedBy>DAS</cp:lastModifiedBy>
  <cp:revision>191</cp:revision>
  <cp:lastPrinted>2018-01-03T16:45:46Z</cp:lastPrinted>
  <dcterms:created xsi:type="dcterms:W3CDTF">2018-01-02T19:34:41Z</dcterms:created>
  <dcterms:modified xsi:type="dcterms:W3CDTF">2018-08-13T18:00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F120D1B9627874F919FA68D292E433D</vt:lpwstr>
  </property>
</Properties>
</file>